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0" r:id="rId5"/>
    <p:sldMasterId id="2147483708" r:id="rId6"/>
  </p:sldMasterIdLst>
  <p:notesMasterIdLst>
    <p:notesMasterId r:id="rId19"/>
  </p:notesMasterIdLst>
  <p:handoutMasterIdLst>
    <p:handoutMasterId r:id="rId20"/>
  </p:handoutMasterIdLst>
  <p:sldIdLst>
    <p:sldId id="2147469510" r:id="rId7"/>
    <p:sldId id="2147479052" r:id="rId8"/>
    <p:sldId id="2147479123" r:id="rId9"/>
    <p:sldId id="2147479053" r:id="rId10"/>
    <p:sldId id="2147479132" r:id="rId11"/>
    <p:sldId id="2147479124" r:id="rId12"/>
    <p:sldId id="2147479133" r:id="rId13"/>
    <p:sldId id="2147479126" r:id="rId14"/>
    <p:sldId id="2147479127" r:id="rId15"/>
    <p:sldId id="2147479135" r:id="rId16"/>
    <p:sldId id="2147479129" r:id="rId17"/>
    <p:sldId id="2147479130" r:id="rId18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4571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4571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4571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4571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4571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4571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64" algn="l" defTabSz="4571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4571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4571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AA10218-31C6-7946-B8F0-EF9DDDF2D803}">
          <p14:sldIdLst>
            <p14:sldId id="2147469510"/>
            <p14:sldId id="2147479052"/>
            <p14:sldId id="2147479123"/>
            <p14:sldId id="2147479053"/>
            <p14:sldId id="2147479132"/>
            <p14:sldId id="2147479124"/>
            <p14:sldId id="2147479133"/>
            <p14:sldId id="2147479126"/>
            <p14:sldId id="2147479127"/>
            <p14:sldId id="2147479135"/>
            <p14:sldId id="2147479129"/>
            <p14:sldId id="2147479130"/>
          </p14:sldIdLst>
        </p14:section>
      </p14:sectionLst>
    </p:ext>
    <p:ext uri="{EFAFB233-063F-42B5-8137-9DF3F51BA10A}">
      <p15:sldGuideLst xmlns:p15="http://schemas.microsoft.com/office/powerpoint/2012/main">
        <p15:guide id="2" pos="2568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55C4F7D-1635-02C4-1070-6EF05B11B5CA}" name="Cholakov, Daniel" initials="CD" userId="S::cholakod@wwt.com::eb0bf777-430d-47f5-ae71-237ff8e399e6" providerId="AD"/>
  <p188:author id="{B65EA29C-E3DB-F577-690F-560FCD50D003}" name="Blank, Lilo" initials="BL" userId="S::blankl@wwt.com::1aeaf576-fb67-471c-a952-b52a6bef232c" providerId="AD"/>
  <p188:author id="{6FFAC9C3-7865-1A06-AD53-434FBA106DFE}" name="Lal, Mayank" initials="LM" userId="S::lalm@wwt.com::6ee1156a-c685-4f51-ab5a-bd2d9d940942" providerId="AD"/>
  <p188:author id="{80138BE8-E229-887C-3761-F1A821C3C323}" name="Prabhakaron, Aditya" initials="PA" userId="S::prabhaka@wwt.com::5a2b8ac5-f654-42e4-becf-882094be8b51" providerId="AD"/>
  <p188:author id="{3C716CFD-9E2A-A09D-5763-0C5E82C81FB3}" name="DuBell, Matthew" initials="DM" userId="S::dubellm@wwt.com::a254dbf8-e0a9-4b3a-9d0d-fe438d1fe88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1DAD73"/>
    <a:srgbClr val="F6F6FC"/>
    <a:srgbClr val="F8F8F8"/>
    <a:srgbClr val="008000"/>
    <a:srgbClr val="1C0087"/>
    <a:srgbClr val="5E51B3"/>
    <a:srgbClr val="CDDB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8DBD54C-6FA5-797A-F6D3-B90E5F0BB5EE}" v="6" dt="2024-07-13T16:22:54.9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pos="2568"/>
        <p:guide orient="horz" pos="216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Relationship Id="rId27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8703E90-FBED-6462-649E-4338290EC6E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905B12-85A0-D7BF-0BBD-28BA77F2A9C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9CEC55-4FCA-4E2C-859D-2E0C8CBC6244}" type="datetimeFigureOut">
              <a:rPr lang="en-GB" smtClean="0"/>
              <a:t>13/07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D1B011-A606-7A1D-C90C-8DA99B114F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295B8-CC0E-CCFB-46C3-4B3EBD713A9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49CABC-791A-4CFF-A9B7-0068AB5277F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11603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198EEB-5D8B-44DD-A0A0-F99138D6BF2C}" type="datetimeFigureOut">
              <a:rPr lang="en-US" smtClean="0"/>
              <a:t>7/1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D75358-F407-4AE4-9A4C-FB3DC1079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11539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D75358-F407-4AE4-9A4C-FB3DC107963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69756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EA2F3F-FC2F-F540-8E39-1326FC5B9CD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7962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EA2F3F-FC2F-F540-8E39-1326FC5B9CD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35292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EA2F3F-FC2F-F540-8E39-1326FC5B9CD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80716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EA2F3F-FC2F-F540-8E39-1326FC5B9CD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3279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EA2F3F-FC2F-F540-8E39-1326FC5B9CD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7960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EA2F3F-FC2F-F540-8E39-1326FC5B9CD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38715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EA2F3F-FC2F-F540-8E39-1326FC5B9CD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3172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EA2F3F-FC2F-F540-8E39-1326FC5B9CD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6882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EA2F3F-FC2F-F540-8E39-1326FC5B9CD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6551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EA2F3F-FC2F-F540-8E39-1326FC5B9CD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25371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EA2F3F-FC2F-F540-8E39-1326FC5B9CD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7705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emf"/><Relationship Id="rId4" Type="http://schemas.openxmlformats.org/officeDocument/2006/relationships/image" Target="../media/image14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emf"/><Relationship Id="rId4" Type="http://schemas.openxmlformats.org/officeDocument/2006/relationships/image" Target="../media/image1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2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9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6" Type="http://schemas.openxmlformats.org/officeDocument/2006/relationships/image" Target="../media/image20.png"/><Relationship Id="rId5" Type="http://schemas.openxmlformats.org/officeDocument/2006/relationships/image" Target="../media/image10.emf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5" Type="http://schemas.openxmlformats.org/officeDocument/2006/relationships/image" Target="../media/image4.emf"/><Relationship Id="rId4" Type="http://schemas.openxmlformats.org/officeDocument/2006/relationships/image" Target="../media/image6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8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0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4" Type="http://schemas.openxmlformats.org/officeDocument/2006/relationships/image" Target="../media/image10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10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4" Type="http://schemas.openxmlformats.org/officeDocument/2006/relationships/image" Target="../media/image10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4" Type="http://schemas.openxmlformats.org/officeDocument/2006/relationships/image" Target="../media/image10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.xml"/><Relationship Id="rId6" Type="http://schemas.openxmlformats.org/officeDocument/2006/relationships/image" Target="../media/image10.emf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Relationship Id="rId6" Type="http://schemas.openxmlformats.org/officeDocument/2006/relationships/image" Target="../media/image10.emf"/><Relationship Id="rId5" Type="http://schemas.openxmlformats.org/officeDocument/2006/relationships/image" Target="../media/image27.png"/><Relationship Id="rId4" Type="http://schemas.openxmlformats.org/officeDocument/2006/relationships/image" Target="../media/image28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7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.xml"/><Relationship Id="rId4" Type="http://schemas.openxmlformats.org/officeDocument/2006/relationships/image" Target="../media/image10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.xml"/><Relationship Id="rId4" Type="http://schemas.openxmlformats.org/officeDocument/2006/relationships/image" Target="../media/image10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Relationship Id="rId4" Type="http://schemas.openxmlformats.org/officeDocument/2006/relationships/image" Target="../media/image18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Relationship Id="rId4" Type="http://schemas.openxmlformats.org/officeDocument/2006/relationships/image" Target="../media/image19.png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6.xml"/><Relationship Id="rId6" Type="http://schemas.openxmlformats.org/officeDocument/2006/relationships/image" Target="../media/image10.emf"/><Relationship Id="rId5" Type="http://schemas.openxmlformats.org/officeDocument/2006/relationships/image" Target="../media/image9.png"/><Relationship Id="rId4" Type="http://schemas.openxmlformats.org/officeDocument/2006/relationships/image" Target="../media/image3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Nav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Background pattern&#10;&#10;Description automatically generated">
            <a:extLst>
              <a:ext uri="{FF2B5EF4-FFF2-40B4-BE49-F238E27FC236}">
                <a16:creationId xmlns:a16="http://schemas.microsoft.com/office/drawing/2014/main" id="{76D16844-6333-3E4A-AF87-E77C05853F0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4525" y="1854201"/>
            <a:ext cx="7375649" cy="1655763"/>
          </a:xfrm>
        </p:spPr>
        <p:txBody>
          <a:bodyPr anchor="b">
            <a:noAutofit/>
          </a:bodyPr>
          <a:lstStyle>
            <a:lvl1pPr algn="l">
              <a:spcBef>
                <a:spcPts val="0"/>
              </a:spcBef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525" y="3602037"/>
            <a:ext cx="7375649" cy="1655763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239EE7-2778-0244-92FA-E41B4595189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7321" y="916287"/>
            <a:ext cx="2792832" cy="79191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E579AE1-0EF4-48E2-89A1-E8BFCB832B9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797"/>
          <a:stretch/>
        </p:blipFill>
        <p:spPr>
          <a:xfrm>
            <a:off x="3695816" y="935803"/>
            <a:ext cx="2575833" cy="61154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D49F38C-0B23-402B-8788-FF8702A5D7D8}"/>
              </a:ext>
            </a:extLst>
          </p:cNvPr>
          <p:cNvSpPr txBox="1"/>
          <p:nvPr/>
        </p:nvSpPr>
        <p:spPr>
          <a:xfrm>
            <a:off x="0" y="6498393"/>
            <a:ext cx="6739637" cy="328343"/>
          </a:xfrm>
          <a:prstGeom prst="rect">
            <a:avLst/>
          </a:prstGeom>
          <a:noFill/>
        </p:spPr>
        <p:txBody>
          <a:bodyPr wrap="square" lIns="162545" tIns="81272" rIns="162545" bIns="81272" rtlCol="0" anchor="ctr">
            <a:spAutoFit/>
          </a:bodyPr>
          <a:lstStyle/>
          <a:p>
            <a:r>
              <a:rPr lang="en-US" sz="1067" b="0" i="0" kern="120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© 2023</a:t>
            </a:r>
            <a:r>
              <a:rPr lang="en-US" sz="1067" b="0" i="0" kern="1200" baseline="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en-US" sz="1067" b="0" i="0" kern="120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World Wide Technology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468973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gray background and tr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5C98F7E-3FA1-1346-A67F-6D0B91EF3D6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Bef>
                <a:spcPts val="0"/>
              </a:spcBef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260160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5C98F7E-3FA1-1346-A67F-6D0B91EF3D6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72133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emphasis and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29AE693-0ABA-5647-A79F-DDC42B3BACDD}"/>
              </a:ext>
            </a:extLst>
          </p:cNvPr>
          <p:cNvSpPr/>
          <p:nvPr/>
        </p:nvSpPr>
        <p:spPr>
          <a:xfrm>
            <a:off x="7367407" y="0"/>
            <a:ext cx="4824596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641572"/>
            <a:ext cx="6220899" cy="54770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446032"/>
            <a:ext cx="6220899" cy="490160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945D0D9-27D2-CA48-8163-FBAAD2C965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3" y="287080"/>
            <a:ext cx="6221287" cy="354271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rgbClr val="0086EA"/>
                </a:solidFill>
              </a:defRPr>
            </a:lvl2pPr>
            <a:lvl3pPr>
              <a:buNone/>
              <a:defRPr>
                <a:solidFill>
                  <a:srgbClr val="0086EA"/>
                </a:solidFill>
              </a:defRPr>
            </a:lvl3pPr>
            <a:lvl4pPr>
              <a:buNone/>
              <a:defRPr>
                <a:solidFill>
                  <a:srgbClr val="0086EA"/>
                </a:solidFill>
              </a:defRPr>
            </a:lvl4pPr>
            <a:lvl5pPr>
              <a:buNone/>
              <a:defRPr>
                <a:solidFill>
                  <a:srgbClr val="0086EA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D566892-ABAA-3644-BCA7-29EF96D03456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7367019" y="0"/>
            <a:ext cx="4824596" cy="3429000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627C85-413D-F64C-8CB0-0E4D3437556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03281" y="3667922"/>
            <a:ext cx="3952064" cy="267971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900">
                <a:solidFill>
                  <a:srgbClr val="505050"/>
                </a:solidFill>
              </a:defRPr>
            </a:lvl3pPr>
            <a:lvl4pPr>
              <a:defRPr sz="800">
                <a:solidFill>
                  <a:srgbClr val="505050"/>
                </a:solidFill>
              </a:defRPr>
            </a:lvl4pPr>
            <a:lvl5pPr>
              <a:defRPr sz="800"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585955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with two content z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/>
        </p:nvSpPr>
        <p:spPr>
          <a:xfrm>
            <a:off x="7100268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4" y="365129"/>
            <a:ext cx="5957381" cy="811921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4" y="1410511"/>
            <a:ext cx="5957381" cy="4766452"/>
          </a:xfrm>
        </p:spPr>
        <p:txBody>
          <a:bodyPr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95A3962-55ED-8C40-AA36-DC8AC2758F0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596317" y="1410511"/>
            <a:ext cx="4099641" cy="4766452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00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368713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/>
        </p:nvSpPr>
        <p:spPr>
          <a:xfrm>
            <a:off x="7100268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4" y="365129"/>
            <a:ext cx="5957381" cy="81192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4" y="1410511"/>
            <a:ext cx="5957381" cy="476645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AE6F173-2A3B-7F43-9627-694572B6F067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7596317" y="365128"/>
            <a:ext cx="4099641" cy="5811837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571539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with s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/>
        </p:nvSpPr>
        <p:spPr>
          <a:xfrm>
            <a:off x="0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87780" y="365129"/>
            <a:ext cx="5957381" cy="81192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7780" y="1410511"/>
            <a:ext cx="5957381" cy="476645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AE6F173-2A3B-7F43-9627-694572B6F067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3" y="0"/>
            <a:ext cx="4900972" cy="6858000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D8AC9FD-618E-B24B-9587-DE9E8F9E1E7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918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410511"/>
            <a:ext cx="5181600" cy="476645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410511"/>
            <a:ext cx="5181600" cy="476645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F10EE1-DD34-B345-A74A-427B234620B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0588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-column conten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81192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340695"/>
            <a:ext cx="5157787" cy="823912"/>
          </a:xfrm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bg2"/>
                </a:solidFill>
              </a:defRPr>
            </a:lvl1pPr>
            <a:lvl2pPr marL="457167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7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316269"/>
            <a:ext cx="5157787" cy="387339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340695"/>
            <a:ext cx="5183188" cy="823912"/>
          </a:xfrm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bg2"/>
                </a:solidFill>
              </a:defRPr>
            </a:lvl1pPr>
            <a:lvl2pPr marL="457167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7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316269"/>
            <a:ext cx="5183188" cy="387339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C9246B4-8547-0244-A8A1-CFF4AD6BD46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359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6044" y="238129"/>
            <a:ext cx="10515600" cy="81192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B2DF316-7124-284A-B4F1-E3CF7FCF46A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2B09B2A-351A-9944-9A3C-4FCB2EF57C3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022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4279C3E-A58B-2242-A545-FD30234FD1A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559AE80-4F93-FA4F-B929-081C7576BF4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9"/>
            <a:ext cx="6172200" cy="4873625"/>
          </a:xfrm>
        </p:spPr>
        <p:txBody>
          <a:bodyPr>
            <a:noAutofit/>
          </a:bodyPr>
          <a:lstStyle>
            <a:lvl1pPr>
              <a:defRPr sz="27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211922"/>
            <a:ext cx="3932237" cy="365706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2"/>
                </a:solidFill>
              </a:defRPr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BDB2E16-32A4-AF4B-9059-DD4B3639EBC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4569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89367CF1-C3C7-2D4C-A2D2-5B88DF7DF52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4525" y="1854201"/>
            <a:ext cx="7375649" cy="1655763"/>
          </a:xfrm>
        </p:spPr>
        <p:txBody>
          <a:bodyPr anchor="b">
            <a:noAutofit/>
          </a:bodyPr>
          <a:lstStyle>
            <a:lvl1pPr algn="l">
              <a:spcBef>
                <a:spcPts val="0"/>
              </a:spcBef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525" y="3602037"/>
            <a:ext cx="7375649" cy="1655763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101D0B9-07EA-7049-99D4-264D289D3B1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321" y="916284"/>
            <a:ext cx="2792832" cy="79191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C1FEECE-7340-4D1D-844B-E497A8CBD67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duotone>
              <a:prstClr val="black"/>
              <a:schemeClr val="accent4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797"/>
          <a:stretch/>
        </p:blipFill>
        <p:spPr>
          <a:xfrm>
            <a:off x="3695816" y="935803"/>
            <a:ext cx="2575833" cy="611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2054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9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211922"/>
            <a:ext cx="3932237" cy="365706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2"/>
                </a:solidFill>
              </a:defRPr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53628DD-4BEA-0D43-86F7-5AC3BE93C58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02DF55B-0C82-0C4F-A4E7-7BE9E969493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4843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on light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C912B50-56C0-E042-933C-5F60016A649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69AE5BB-E509-BD44-9B19-3673A2CE24C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1083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ultur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3A7B6F4-6436-F242-8F6A-DD1937B4E77D}"/>
              </a:ext>
            </a:extLst>
          </p:cNvPr>
          <p:cNvGrpSpPr/>
          <p:nvPr/>
        </p:nvGrpSpPr>
        <p:grpSpPr>
          <a:xfrm>
            <a:off x="4373" y="0"/>
            <a:ext cx="12187631" cy="6858000"/>
            <a:chOff x="8739" y="-1"/>
            <a:chExt cx="24378435" cy="1371600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CE0A0F-E976-8C4F-A3B5-4CA2332386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67743" y="-1"/>
              <a:ext cx="21019431" cy="13716001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F58673A-3513-5743-958C-9C412BB83FA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39" y="5723738"/>
              <a:ext cx="7992261" cy="7992261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9F57033-62A5-2F4A-A1A0-4D5EDB3A5E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8739" y="2982686"/>
              <a:ext cx="8472886" cy="1073331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4" y="365129"/>
            <a:ext cx="5774389" cy="81192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4" y="1410511"/>
            <a:ext cx="5774389" cy="4766452"/>
          </a:xfrm>
        </p:spPr>
        <p:txBody>
          <a:bodyPr/>
          <a:lstStyle>
            <a:lvl1pPr>
              <a:buNone/>
              <a:defRPr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2F8B860-788E-C94C-8B7F-A0F8612C5C7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9566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glob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3A7B6F4-6436-F242-8F6A-DD1937B4E77D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-1"/>
            <a:chExt cx="24387174" cy="1371600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CE0A0F-E976-8C4F-A3B5-4CA2332386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67743" y="-1"/>
              <a:ext cx="21019431" cy="13716001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F58673A-3513-5743-958C-9C412BB83FA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429" y="5723738"/>
              <a:ext cx="7988881" cy="7992261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9F57033-62A5-2F4A-A1A0-4D5EDB3A5E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0" y="2982686"/>
              <a:ext cx="8472886" cy="1073331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4" y="365129"/>
            <a:ext cx="5774389" cy="81192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4" y="1410511"/>
            <a:ext cx="5774389" cy="4766452"/>
          </a:xfrm>
        </p:spPr>
        <p:txBody>
          <a:bodyPr/>
          <a:lstStyle>
            <a:lvl1pPr>
              <a:buNone/>
              <a:defRPr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0026E35-AE92-3445-9E54-A0E496165B3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9455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ATC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BC47A49E-927A-1344-A669-95309DFE1783}"/>
              </a:ext>
            </a:extLst>
          </p:cNvPr>
          <p:cNvGrpSpPr/>
          <p:nvPr/>
        </p:nvGrpSpPr>
        <p:grpSpPr>
          <a:xfrm>
            <a:off x="5214" y="0"/>
            <a:ext cx="12192203" cy="6858000"/>
            <a:chOff x="10429" y="-1"/>
            <a:chExt cx="24387581" cy="1371600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CE0A0F-E976-8C4F-A3B5-4CA2332386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10429" y="-1"/>
              <a:ext cx="24366316" cy="13716001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3104CA5-8EFF-954C-B094-7039A519266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414813" y="5724144"/>
              <a:ext cx="7983197" cy="7991856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9F57033-62A5-2F4A-A1A0-4D5EDB3A5E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5925124" y="2982686"/>
              <a:ext cx="8472886" cy="1073331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4" y="365129"/>
            <a:ext cx="5774389" cy="81192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4" y="1410511"/>
            <a:ext cx="5774389" cy="4766452"/>
          </a:xfrm>
        </p:spPr>
        <p:txBody>
          <a:bodyPr/>
          <a:lstStyle>
            <a:lvl1pPr>
              <a:buNone/>
              <a:defRPr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681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vy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222A5EA9-E86D-8342-B5F4-5F5D21A6912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10B081-01C7-F14C-9DD4-55915E41B8E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74225" y="2707345"/>
            <a:ext cx="4851155" cy="1375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3958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1778F5C-7751-044E-9875-95293E60465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pic>
        <p:nvPicPr>
          <p:cNvPr id="8" name="Picture 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CEE64997-BA17-9648-8019-22C2774A6F1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4225" y="2707345"/>
            <a:ext cx="4851155" cy="1375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0228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13508B-B238-40BC-B19A-EBA3E172CB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6811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13508B-B238-40BC-B19A-EBA3E172CB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Background pattern&#10;&#10;Description automatically generated">
            <a:extLst>
              <a:ext uri="{FF2B5EF4-FFF2-40B4-BE49-F238E27FC236}">
                <a16:creationId xmlns:a16="http://schemas.microsoft.com/office/drawing/2014/main" id="{76D16844-6333-3E4A-AF87-E77C05853F0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pic>
        <p:nvPicPr>
          <p:cNvPr id="2050" name="Picture 2" descr="Generic Logo | Free SVG">
            <a:extLst>
              <a:ext uri="{FF2B5EF4-FFF2-40B4-BE49-F238E27FC236}">
                <a16:creationId xmlns:a16="http://schemas.microsoft.com/office/drawing/2014/main" id="{37BCAFA6-CB2C-A573-2CB1-9E50283E530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617" b="32617"/>
          <a:stretch/>
        </p:blipFill>
        <p:spPr bwMode="auto">
          <a:xfrm>
            <a:off x="8411853" y="809724"/>
            <a:ext cx="2457252" cy="854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94528" y="1854201"/>
            <a:ext cx="10338528" cy="1655763"/>
          </a:xfrm>
        </p:spPr>
        <p:txBody>
          <a:bodyPr vert="horz" anchor="b">
            <a:noAutofit/>
          </a:bodyPr>
          <a:lstStyle>
            <a:lvl1pPr algn="l">
              <a:spcBef>
                <a:spcPts val="0"/>
              </a:spcBef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customer name &amp; projec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94528" y="3470060"/>
            <a:ext cx="7375649" cy="4797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 b="1">
                <a:solidFill>
                  <a:schemeClr val="accent2">
                    <a:lumMod val="40000"/>
                    <a:lumOff val="60000"/>
                  </a:schemeClr>
                </a:solidFill>
                <a:latin typeface="+mn-lt"/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edit meeting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239EE7-2778-0244-92FA-E41B4595189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7321" y="916290"/>
            <a:ext cx="2792832" cy="79191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E579AE1-0EF4-48E2-89A1-E8BFCB832B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797"/>
          <a:stretch/>
        </p:blipFill>
        <p:spPr>
          <a:xfrm>
            <a:off x="3695818" y="935803"/>
            <a:ext cx="2575833" cy="61154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D49F38C-0B23-402B-8788-FF8702A5D7D8}"/>
              </a:ext>
            </a:extLst>
          </p:cNvPr>
          <p:cNvSpPr txBox="1"/>
          <p:nvPr userDrawn="1"/>
        </p:nvSpPr>
        <p:spPr>
          <a:xfrm>
            <a:off x="0" y="6498394"/>
            <a:ext cx="6739637" cy="328343"/>
          </a:xfrm>
          <a:prstGeom prst="rect">
            <a:avLst/>
          </a:prstGeom>
          <a:noFill/>
        </p:spPr>
        <p:txBody>
          <a:bodyPr wrap="square" lIns="162545" tIns="81272" rIns="162545" bIns="81272" rtlCol="0" anchor="ctr">
            <a:spAutoFit/>
          </a:bodyPr>
          <a:lstStyle/>
          <a:p>
            <a:r>
              <a:rPr lang="en-US" sz="1067" b="0" i="0" kern="120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2023</a:t>
            </a:r>
            <a:r>
              <a:rPr lang="en-US" sz="1067" b="0" i="0" kern="1200" baseline="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en-US" sz="1067" b="0" i="0" kern="120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World Wide Technology, Inc. All rights reserved.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1C5E48BF-5741-37FE-1B05-483E2582F3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93379" y="6470575"/>
            <a:ext cx="3117850" cy="365125"/>
          </a:xfrm>
          <a:prstGeom prst="rect">
            <a:avLst/>
          </a:prstGeom>
        </p:spPr>
        <p:txBody>
          <a:bodyPr/>
          <a:lstStyle>
            <a:lvl1pPr marL="0" indent="0" algn="r" defTabSz="91428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800" b="0" i="0" kern="1200" dirty="0">
                <a:solidFill>
                  <a:schemeClr val="accent2">
                    <a:lumMod val="40000"/>
                    <a:lumOff val="6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dat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5E791CE-DC58-E2EA-CE6C-A374AFA45EA5}"/>
              </a:ext>
            </a:extLst>
          </p:cNvPr>
          <p:cNvGrpSpPr/>
          <p:nvPr userDrawn="1"/>
        </p:nvGrpSpPr>
        <p:grpSpPr>
          <a:xfrm>
            <a:off x="8387674" y="910742"/>
            <a:ext cx="661482" cy="657785"/>
            <a:chOff x="8387674" y="910742"/>
            <a:chExt cx="661482" cy="657785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5FA59A3-3D4F-50B3-FD5B-84D01BEC0860}"/>
                </a:ext>
              </a:extLst>
            </p:cNvPr>
            <p:cNvSpPr/>
            <p:nvPr userDrawn="1"/>
          </p:nvSpPr>
          <p:spPr>
            <a:xfrm>
              <a:off x="8387675" y="913503"/>
              <a:ext cx="661481" cy="652237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B050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054" name="Picture 6" descr="iron-mountain Logo PNG Vector (SVG) Free Download">
              <a:extLst>
                <a:ext uri="{FF2B5EF4-FFF2-40B4-BE49-F238E27FC236}">
                  <a16:creationId xmlns:a16="http://schemas.microsoft.com/office/drawing/2014/main" id="{9B1D8260-F1A9-C8E6-EAB7-D7719689214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60" t="-12566" r="67858" b="1"/>
            <a:stretch/>
          </p:blipFill>
          <p:spPr bwMode="auto">
            <a:xfrm>
              <a:off x="8387674" y="910742"/>
              <a:ext cx="661482" cy="652237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80BA022-6A71-D113-09AE-88351658CD3D}"/>
                </a:ext>
              </a:extLst>
            </p:cNvPr>
            <p:cNvSpPr/>
            <p:nvPr userDrawn="1"/>
          </p:nvSpPr>
          <p:spPr>
            <a:xfrm>
              <a:off x="8387675" y="916290"/>
              <a:ext cx="661481" cy="652237"/>
            </a:xfrm>
            <a:prstGeom prst="ellipse">
              <a:avLst/>
            </a:prstGeom>
            <a:noFill/>
            <a:ln w="19050">
              <a:solidFill>
                <a:srgbClr val="5DABCE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7038858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White)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B982697-23C3-418F-969A-4F5D7BA3B5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4399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B982697-23C3-418F-969A-4F5D7BA3B5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C018D5E5-7E92-44A9-8856-80C1B9FF13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0683" cy="6132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3200" b="1" i="0" cap="none" baseline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/>
              <a:t>Click here to insert tit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C677D7B-B7AB-EB50-7778-62BA61C8C0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3A09FD-3F52-493A-BB53-731E503E7D0B}" type="datetime1">
              <a:rPr lang="en-US" smtClean="0"/>
              <a:t>7/13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8EC1190-9625-38A8-994A-487CAAF1D7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C85CF0B-FDA6-1470-1EB2-7E30745AF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0844AD-CB3B-4EEE-AD68-5C3258E142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68860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White) - Blank &amp; Tag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B982697-23C3-418F-969A-4F5D7BA3B5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944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B982697-23C3-418F-969A-4F5D7BA3B5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C018D5E5-7E92-44A9-8856-80C1B9FF13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0683" cy="6132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3200" b="1" i="0" cap="none" baseline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/>
              <a:t>Click here to insert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BFBB05-B380-4327-61AD-562BCBC6CF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43A09FD-3F52-493A-BB53-731E503E7D0B}" type="datetime1">
              <a:rPr lang="en-US" smtClean="0"/>
              <a:t>7/1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8E940F-B1FC-071C-04E7-EB1A22A0667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487C7E-FBD3-6A27-FEE9-8216018F2FE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90844AD-CB3B-4EEE-AD68-5C3258E142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92211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198C4F2-B7A3-964A-B48C-FCAC7BAAB14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82" y="1571"/>
            <a:ext cx="12184841" cy="685486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598072"/>
            <a:ext cx="10515600" cy="1500187"/>
          </a:xfrm>
        </p:spPr>
        <p:txBody>
          <a:bodyPr anchor="b">
            <a:noAutofit/>
          </a:bodyPr>
          <a:lstStyle>
            <a:lvl1pPr algn="ctr">
              <a:spcBef>
                <a:spcPts val="0"/>
              </a:spcBef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3319128"/>
            <a:ext cx="10515600" cy="1306309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99017C11-1086-6B49-95E7-3ED01C56F8C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49208" y="5156192"/>
            <a:ext cx="2293584" cy="502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6243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White)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B982697-23C3-418F-969A-4F5D7BA3B5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0411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B982697-23C3-418F-969A-4F5D7BA3B5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C018D5E5-7E92-44A9-8856-80C1B9FF13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0683" cy="6132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3200" b="1" i="0" cap="none" baseline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/>
              <a:t>Click here to insert titl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4108034-3D4F-46F2-A702-118ACFB76C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357313"/>
            <a:ext cx="10860088" cy="50434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ppleSymbols" panose="02000000000000000000" pitchFamily="2" charset="-79"/>
              <a:buChar char="⎼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C926C2-C234-7480-44C7-AA4728CEF6D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43A09FD-3F52-493A-BB53-731E503E7D0B}" type="datetime1">
              <a:rPr lang="en-US" smtClean="0"/>
              <a:t>7/1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608B37-DABB-4DF6-92E8-7E97A99E42C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F71879-AD57-41B6-7F22-C42299A38EB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90844AD-CB3B-4EEE-AD68-5C3258E142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11259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White) - Text &amp; Tag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B982697-23C3-418F-969A-4F5D7BA3B5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76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B982697-23C3-418F-969A-4F5D7BA3B5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C018D5E5-7E92-44A9-8856-80C1B9FF13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0683" cy="6132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3200" b="1" i="0" cap="none" baseline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/>
              <a:t>Click here to insert titl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4108034-3D4F-46F2-A702-118ACFB76C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357313"/>
            <a:ext cx="10860088" cy="50434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ppleSymbols" panose="02000000000000000000" pitchFamily="2" charset="-79"/>
              <a:buChar char="⎼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1EDECB-EF92-0F83-3B62-49BEC67EDBB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43A09FD-3F52-493A-BB53-731E503E7D0B}" type="datetime1">
              <a:rPr lang="en-US" smtClean="0"/>
              <a:t>7/1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754894-5FA2-82F6-3F9E-AFB83B77543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FB6C05-0612-3A95-98F2-685A210781D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90844AD-CB3B-4EEE-AD68-5C3258E142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18553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White) - Blank with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B982697-23C3-418F-969A-4F5D7BA3B5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1626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B982697-23C3-418F-969A-4F5D7BA3B5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C018D5E5-7E92-44A9-8856-80C1B9FF13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0683" cy="6132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3200" b="1" i="0" cap="none" baseline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/>
              <a:t>Click here to insert title</a:t>
            </a: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9E85F690-76B4-4156-B431-C2A7A384E24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930809" y="6421148"/>
            <a:ext cx="9052560" cy="23552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1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387069-2298-2B97-68C3-AC180C961983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43A09FD-3F52-493A-BB53-731E503E7D0B}" type="datetime1">
              <a:rPr lang="en-US" smtClean="0"/>
              <a:t>7/13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D2B385-333A-BF7A-AC35-32B3A613308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A63F7D4-0676-B2A0-2502-CA3D9360878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90844AD-CB3B-4EEE-AD68-5C3258E142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9628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B6FAF7-2A9E-4C55-86A1-E20CA00735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4811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B6FAF7-2A9E-4C55-86A1-E20CA00735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89367CF1-C3C7-2D4C-A2D2-5B88DF7DF52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4528" y="1854201"/>
            <a:ext cx="7375649" cy="1655763"/>
          </a:xfrm>
        </p:spPr>
        <p:txBody>
          <a:bodyPr vert="horz" anchor="b">
            <a:noAutofit/>
          </a:bodyPr>
          <a:lstStyle>
            <a:lvl1pPr algn="l">
              <a:spcBef>
                <a:spcPts val="0"/>
              </a:spcBef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101D0B9-07EA-7049-99D4-264D289D3B1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321" y="916284"/>
            <a:ext cx="2792832" cy="79191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C1FEECE-7340-4D1D-844B-E497A8CBD6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duotone>
              <a:prstClr val="black"/>
              <a:schemeClr val="accent3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797"/>
          <a:stretch/>
        </p:blipFill>
        <p:spPr>
          <a:xfrm>
            <a:off x="3695818" y="935803"/>
            <a:ext cx="2575833" cy="61154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2DA7816-2BEF-49C4-B140-3CE1C965C766}"/>
              </a:ext>
            </a:extLst>
          </p:cNvPr>
          <p:cNvSpPr txBox="1"/>
          <p:nvPr userDrawn="1"/>
        </p:nvSpPr>
        <p:spPr>
          <a:xfrm>
            <a:off x="0" y="6498394"/>
            <a:ext cx="6739637" cy="328343"/>
          </a:xfrm>
          <a:prstGeom prst="rect">
            <a:avLst/>
          </a:prstGeom>
          <a:noFill/>
        </p:spPr>
        <p:txBody>
          <a:bodyPr wrap="square" lIns="162545" tIns="81272" rIns="162545" bIns="81272" rtlCol="0" anchor="ctr">
            <a:spAutoFit/>
          </a:bodyPr>
          <a:lstStyle/>
          <a:p>
            <a:r>
              <a:rPr lang="en-US" sz="1067" b="0" i="0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2023</a:t>
            </a:r>
            <a:r>
              <a:rPr lang="en-US" sz="1067" b="0" i="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en-US" sz="1067" b="0" i="0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World Wide Technology, Inc. All rights reserved.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0945B47-49F4-4C7F-0422-98793196AC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4528" y="3470060"/>
            <a:ext cx="7375649" cy="4797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 b="1">
                <a:solidFill>
                  <a:schemeClr val="accent2">
                    <a:lumMod val="60000"/>
                    <a:lumOff val="40000"/>
                  </a:schemeClr>
                </a:solidFill>
                <a:latin typeface="+mn-lt"/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edit meeting 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23984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7111CB9-C321-4732-9C83-FFF60EFB90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6215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7111CB9-C321-4732-9C83-FFF60EFB9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E198C4F2-B7A3-964A-B48C-FCAC7BAAB14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85" y="1576"/>
            <a:ext cx="12184841" cy="685486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598072"/>
            <a:ext cx="10515600" cy="1500187"/>
          </a:xfrm>
        </p:spPr>
        <p:txBody>
          <a:bodyPr vert="horz" anchor="b">
            <a:noAutofit/>
          </a:bodyPr>
          <a:lstStyle>
            <a:lvl1pPr algn="ctr">
              <a:spcBef>
                <a:spcPts val="0"/>
              </a:spcBef>
              <a:defRPr sz="4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3319128"/>
            <a:ext cx="10515600" cy="130630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2"/>
                </a:solidFill>
                <a:latin typeface="+mn-lt"/>
              </a:defRPr>
            </a:lvl1pPr>
            <a:lvl2pPr marL="45714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8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5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85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1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99017C11-1086-6B49-95E7-3ED01C56F8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49208" y="5156196"/>
            <a:ext cx="2293584" cy="50276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993617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9BB0433-7909-5E5C-1EA6-35DCC57FB5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1599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9BB0433-7909-5E5C-1EA6-35DCC57FB5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222A5EA9-E86D-8342-B5F4-5F5D21A6912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10B081-01C7-F14C-9DD4-55915E41B8E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74225" y="2707349"/>
            <a:ext cx="4851155" cy="137556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0036805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C00352A-BD43-4A6C-BD67-55BD2F37C1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9352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C00352A-BD43-4A6C-BD67-55BD2F37C1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A1778F5C-7751-044E-9875-95293E60465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pic>
        <p:nvPicPr>
          <p:cNvPr id="8" name="Picture 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CEE64997-BA17-9648-8019-22C2774A6F1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4225" y="2707349"/>
            <a:ext cx="4851155" cy="137556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03262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A900F-4601-0023-F6CF-0B1D5FC98C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615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A900F-4601-0023-F6CF-0B1D5FC98C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904B3911-6595-3EEC-1218-098823D6389E}"/>
              </a:ext>
            </a:extLst>
          </p:cNvPr>
          <p:cNvSpPr/>
          <p:nvPr userDrawn="1"/>
        </p:nvSpPr>
        <p:spPr>
          <a:xfrm rot="16200000">
            <a:off x="10200977" y="4866976"/>
            <a:ext cx="2333040" cy="1649006"/>
          </a:xfrm>
          <a:prstGeom prst="rt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418D16E-F01A-4C58-9074-6C111244F7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110343" y="-1"/>
            <a:ext cx="8817429" cy="6858000"/>
          </a:xfrm>
          <a:custGeom>
            <a:avLst/>
            <a:gdLst>
              <a:gd name="connsiteX0" fmla="*/ 5878377 w 8817429"/>
              <a:gd name="connsiteY0" fmla="*/ 4288971 h 6858000"/>
              <a:gd name="connsiteX1" fmla="*/ 7249885 w 8817429"/>
              <a:gd name="connsiteY1" fmla="*/ 4288971 h 6858000"/>
              <a:gd name="connsiteX2" fmla="*/ 5420993 w 8817429"/>
              <a:gd name="connsiteY2" fmla="*/ 6858000 h 6858000"/>
              <a:gd name="connsiteX3" fmla="*/ 4049485 w 8817429"/>
              <a:gd name="connsiteY3" fmla="*/ 6858000 h 6858000"/>
              <a:gd name="connsiteX4" fmla="*/ 4882210 w 8817429"/>
              <a:gd name="connsiteY4" fmla="*/ 0 h 6858000"/>
              <a:gd name="connsiteX5" fmla="*/ 8817429 w 8817429"/>
              <a:gd name="connsiteY5" fmla="*/ 0 h 6858000"/>
              <a:gd name="connsiteX6" fmla="*/ 3935220 w 8817429"/>
              <a:gd name="connsiteY6" fmla="*/ 6858000 h 6858000"/>
              <a:gd name="connsiteX7" fmla="*/ 0 w 8817429"/>
              <a:gd name="connsiteY7" fmla="*/ 6858000 h 6858000"/>
              <a:gd name="connsiteX8" fmla="*/ 3396434 w 8817429"/>
              <a:gd name="connsiteY8" fmla="*/ 0 h 6858000"/>
              <a:gd name="connsiteX9" fmla="*/ 4767942 w 8817429"/>
              <a:gd name="connsiteY9" fmla="*/ 0 h 6858000"/>
              <a:gd name="connsiteX10" fmla="*/ 2939050 w 8817429"/>
              <a:gd name="connsiteY10" fmla="*/ 2569030 h 6858000"/>
              <a:gd name="connsiteX11" fmla="*/ 1567542 w 8817429"/>
              <a:gd name="connsiteY11" fmla="*/ 256903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17429" h="6858000">
                <a:moveTo>
                  <a:pt x="5878377" y="4288971"/>
                </a:moveTo>
                <a:lnTo>
                  <a:pt x="7249885" y="4288971"/>
                </a:lnTo>
                <a:lnTo>
                  <a:pt x="5420993" y="6858000"/>
                </a:lnTo>
                <a:lnTo>
                  <a:pt x="4049485" y="6858000"/>
                </a:lnTo>
                <a:close/>
                <a:moveTo>
                  <a:pt x="4882210" y="0"/>
                </a:moveTo>
                <a:lnTo>
                  <a:pt x="8817429" y="0"/>
                </a:lnTo>
                <a:lnTo>
                  <a:pt x="3935220" y="6858000"/>
                </a:lnTo>
                <a:lnTo>
                  <a:pt x="0" y="6858000"/>
                </a:lnTo>
                <a:close/>
                <a:moveTo>
                  <a:pt x="3396434" y="0"/>
                </a:moveTo>
                <a:lnTo>
                  <a:pt x="4767942" y="0"/>
                </a:lnTo>
                <a:lnTo>
                  <a:pt x="2939050" y="2569030"/>
                </a:lnTo>
                <a:lnTo>
                  <a:pt x="1567542" y="256903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D249B9A-D0DD-A923-2207-A4FDC3D2C0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95"/>
          <a:stretch/>
        </p:blipFill>
        <p:spPr>
          <a:xfrm>
            <a:off x="11462148" y="6421841"/>
            <a:ext cx="491157" cy="26857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AA89435F-D961-7C70-1E5F-D1D8B00092B1}"/>
              </a:ext>
            </a:extLst>
          </p:cNvPr>
          <p:cNvGrpSpPr/>
          <p:nvPr userDrawn="1"/>
        </p:nvGrpSpPr>
        <p:grpSpPr>
          <a:xfrm>
            <a:off x="10992399" y="6356350"/>
            <a:ext cx="395486" cy="393276"/>
            <a:chOff x="8387674" y="910742"/>
            <a:chExt cx="661482" cy="657785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3016C622-9F9B-9E4E-8961-5621B1AD49C1}"/>
                </a:ext>
              </a:extLst>
            </p:cNvPr>
            <p:cNvSpPr/>
            <p:nvPr userDrawn="1"/>
          </p:nvSpPr>
          <p:spPr>
            <a:xfrm>
              <a:off x="8387675" y="913503"/>
              <a:ext cx="661481" cy="652237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B050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" name="Picture 6" descr="iron-mountain Logo PNG Vector (SVG) Free Download">
              <a:extLst>
                <a:ext uri="{FF2B5EF4-FFF2-40B4-BE49-F238E27FC236}">
                  <a16:creationId xmlns:a16="http://schemas.microsoft.com/office/drawing/2014/main" id="{07FBF185-D0C9-99E4-5537-8740C85ABCC7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60" t="-12566" r="67858" b="1"/>
            <a:stretch/>
          </p:blipFill>
          <p:spPr bwMode="auto">
            <a:xfrm>
              <a:off x="8387674" y="910742"/>
              <a:ext cx="661482" cy="652237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BAEF48E5-ADA7-187B-CA57-8F759D4173E4}"/>
                </a:ext>
              </a:extLst>
            </p:cNvPr>
            <p:cNvSpPr/>
            <p:nvPr userDrawn="1"/>
          </p:nvSpPr>
          <p:spPr>
            <a:xfrm>
              <a:off x="8387675" y="916290"/>
              <a:ext cx="661481" cy="652237"/>
            </a:xfrm>
            <a:prstGeom prst="ellipse">
              <a:avLst/>
            </a:prstGeom>
            <a:noFill/>
            <a:ln w="19050">
              <a:solidFill>
                <a:srgbClr val="5DABCE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EF2183C3-3217-FA27-BB7C-F2F5F7BEBD71}"/>
              </a:ext>
            </a:extLst>
          </p:cNvPr>
          <p:cNvSpPr/>
          <p:nvPr userDrawn="1"/>
        </p:nvSpPr>
        <p:spPr>
          <a:xfrm rot="16200000" flipH="1" flipV="1">
            <a:off x="-342017" y="342017"/>
            <a:ext cx="2333040" cy="1649006"/>
          </a:xfrm>
          <a:prstGeom prst="rt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15897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B4B031E-AADF-4C8C-AE9F-B534181B36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91886" y="-1"/>
            <a:ext cx="2656114" cy="5377543"/>
          </a:xfrm>
          <a:custGeom>
            <a:avLst/>
            <a:gdLst>
              <a:gd name="connsiteX0" fmla="*/ 0 w 2656114"/>
              <a:gd name="connsiteY0" fmla="*/ 0 h 5377543"/>
              <a:gd name="connsiteX1" fmla="*/ 2656114 w 2656114"/>
              <a:gd name="connsiteY1" fmla="*/ 0 h 5377543"/>
              <a:gd name="connsiteX2" fmla="*/ 2656114 w 2656114"/>
              <a:gd name="connsiteY2" fmla="*/ 5377543 h 5377543"/>
              <a:gd name="connsiteX3" fmla="*/ 0 w 2656114"/>
              <a:gd name="connsiteY3" fmla="*/ 5377543 h 5377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56114" h="5377543">
                <a:moveTo>
                  <a:pt x="0" y="0"/>
                </a:moveTo>
                <a:lnTo>
                  <a:pt x="2656114" y="0"/>
                </a:lnTo>
                <a:lnTo>
                  <a:pt x="2656114" y="5377543"/>
                </a:lnTo>
                <a:lnTo>
                  <a:pt x="0" y="537754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4D9A088-0191-4D17-BD48-43E93F8CFAB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047999" y="1480457"/>
            <a:ext cx="2656114" cy="5377543"/>
          </a:xfrm>
          <a:custGeom>
            <a:avLst/>
            <a:gdLst>
              <a:gd name="connsiteX0" fmla="*/ 0 w 2656114"/>
              <a:gd name="connsiteY0" fmla="*/ 0 h 5377543"/>
              <a:gd name="connsiteX1" fmla="*/ 2656114 w 2656114"/>
              <a:gd name="connsiteY1" fmla="*/ 0 h 5377543"/>
              <a:gd name="connsiteX2" fmla="*/ 2656114 w 2656114"/>
              <a:gd name="connsiteY2" fmla="*/ 5377543 h 5377543"/>
              <a:gd name="connsiteX3" fmla="*/ 0 w 2656114"/>
              <a:gd name="connsiteY3" fmla="*/ 5377543 h 5377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56114" h="5377543">
                <a:moveTo>
                  <a:pt x="0" y="0"/>
                </a:moveTo>
                <a:lnTo>
                  <a:pt x="2656114" y="0"/>
                </a:lnTo>
                <a:lnTo>
                  <a:pt x="2656114" y="5377543"/>
                </a:lnTo>
                <a:lnTo>
                  <a:pt x="0" y="537754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0921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2ADF772-70E6-4740-BB57-61F9D30A656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12192000" cy="3985146"/>
          </a:xfrm>
          <a:custGeom>
            <a:avLst/>
            <a:gdLst>
              <a:gd name="connsiteX0" fmla="*/ 0 w 12192000"/>
              <a:gd name="connsiteY0" fmla="*/ 0 h 3985146"/>
              <a:gd name="connsiteX1" fmla="*/ 12192000 w 12192000"/>
              <a:gd name="connsiteY1" fmla="*/ 0 h 3985146"/>
              <a:gd name="connsiteX2" fmla="*/ 12192000 w 12192000"/>
              <a:gd name="connsiteY2" fmla="*/ 3985146 h 3985146"/>
              <a:gd name="connsiteX3" fmla="*/ 0 w 12192000"/>
              <a:gd name="connsiteY3" fmla="*/ 3985146 h 3985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985146">
                <a:moveTo>
                  <a:pt x="0" y="0"/>
                </a:moveTo>
                <a:lnTo>
                  <a:pt x="12192000" y="0"/>
                </a:lnTo>
                <a:lnTo>
                  <a:pt x="12192000" y="3985146"/>
                </a:lnTo>
                <a:lnTo>
                  <a:pt x="0" y="398514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0561927"/>
      </p:ext>
    </p:extLst>
  </p:cSld>
  <p:clrMapOvr>
    <a:masterClrMapping/>
  </p:clrMapOvr>
  <p:transition spd="slow" advClick="0">
    <p:wip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198C4F2-B7A3-964A-B48C-FCAC7BAAB14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82" y="1571"/>
            <a:ext cx="12184841" cy="685486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598072"/>
            <a:ext cx="10515600" cy="1500187"/>
          </a:xfrm>
        </p:spPr>
        <p:txBody>
          <a:bodyPr anchor="b">
            <a:noAutofit/>
          </a:bodyPr>
          <a:lstStyle>
            <a:lvl1pPr algn="ctr">
              <a:spcBef>
                <a:spcPts val="0"/>
              </a:spcBef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3319127"/>
            <a:ext cx="10515600" cy="1741972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839538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B9E9EE1-F9FF-4195-8FD9-6191FD9A50A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5143500" cy="6858000"/>
          </a:xfrm>
          <a:custGeom>
            <a:avLst/>
            <a:gdLst>
              <a:gd name="connsiteX0" fmla="*/ 4169181 w 5143500"/>
              <a:gd name="connsiteY0" fmla="*/ 1695450 h 6858000"/>
              <a:gd name="connsiteX1" fmla="*/ 5143500 w 5143500"/>
              <a:gd name="connsiteY1" fmla="*/ 1695450 h 6858000"/>
              <a:gd name="connsiteX2" fmla="*/ 5143500 w 5143500"/>
              <a:gd name="connsiteY2" fmla="*/ 6057900 h 6858000"/>
              <a:gd name="connsiteX3" fmla="*/ 4169181 w 5143500"/>
              <a:gd name="connsiteY3" fmla="*/ 6057900 h 6858000"/>
              <a:gd name="connsiteX4" fmla="*/ 1042295 w 5143500"/>
              <a:gd name="connsiteY4" fmla="*/ 800100 h 6858000"/>
              <a:gd name="connsiteX5" fmla="*/ 2016615 w 5143500"/>
              <a:gd name="connsiteY5" fmla="*/ 800100 h 6858000"/>
              <a:gd name="connsiteX6" fmla="*/ 2016615 w 5143500"/>
              <a:gd name="connsiteY6" fmla="*/ 6858000 h 6858000"/>
              <a:gd name="connsiteX7" fmla="*/ 1042295 w 5143500"/>
              <a:gd name="connsiteY7" fmla="*/ 6858000 h 6858000"/>
              <a:gd name="connsiteX8" fmla="*/ 3126886 w 5143500"/>
              <a:gd name="connsiteY8" fmla="*/ 571500 h 6858000"/>
              <a:gd name="connsiteX9" fmla="*/ 4101205 w 5143500"/>
              <a:gd name="connsiteY9" fmla="*/ 571500 h 6858000"/>
              <a:gd name="connsiteX10" fmla="*/ 4101205 w 5143500"/>
              <a:gd name="connsiteY10" fmla="*/ 6629400 h 6858000"/>
              <a:gd name="connsiteX11" fmla="*/ 3126886 w 5143500"/>
              <a:gd name="connsiteY11" fmla="*/ 6629400 h 6858000"/>
              <a:gd name="connsiteX12" fmla="*/ 2084590 w 5143500"/>
              <a:gd name="connsiteY12" fmla="*/ 400050 h 6858000"/>
              <a:gd name="connsiteX13" fmla="*/ 3058910 w 5143500"/>
              <a:gd name="connsiteY13" fmla="*/ 400050 h 6858000"/>
              <a:gd name="connsiteX14" fmla="*/ 3058910 w 5143500"/>
              <a:gd name="connsiteY14" fmla="*/ 6457950 h 6858000"/>
              <a:gd name="connsiteX15" fmla="*/ 2084590 w 5143500"/>
              <a:gd name="connsiteY15" fmla="*/ 6457950 h 6858000"/>
              <a:gd name="connsiteX16" fmla="*/ 0 w 5143500"/>
              <a:gd name="connsiteY16" fmla="*/ 0 h 6858000"/>
              <a:gd name="connsiteX17" fmla="*/ 974320 w 5143500"/>
              <a:gd name="connsiteY17" fmla="*/ 0 h 6858000"/>
              <a:gd name="connsiteX18" fmla="*/ 974320 w 5143500"/>
              <a:gd name="connsiteY18" fmla="*/ 6057900 h 6858000"/>
              <a:gd name="connsiteX19" fmla="*/ 0 w 5143500"/>
              <a:gd name="connsiteY19" fmla="*/ 60579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143500" h="6858000">
                <a:moveTo>
                  <a:pt x="4169181" y="1695450"/>
                </a:moveTo>
                <a:lnTo>
                  <a:pt x="5143500" y="1695450"/>
                </a:lnTo>
                <a:lnTo>
                  <a:pt x="5143500" y="6057900"/>
                </a:lnTo>
                <a:lnTo>
                  <a:pt x="4169181" y="6057900"/>
                </a:lnTo>
                <a:close/>
                <a:moveTo>
                  <a:pt x="1042295" y="800100"/>
                </a:moveTo>
                <a:lnTo>
                  <a:pt x="2016615" y="800100"/>
                </a:lnTo>
                <a:lnTo>
                  <a:pt x="2016615" y="6858000"/>
                </a:lnTo>
                <a:lnTo>
                  <a:pt x="1042295" y="6858000"/>
                </a:lnTo>
                <a:close/>
                <a:moveTo>
                  <a:pt x="3126886" y="571500"/>
                </a:moveTo>
                <a:lnTo>
                  <a:pt x="4101205" y="571500"/>
                </a:lnTo>
                <a:lnTo>
                  <a:pt x="4101205" y="6629400"/>
                </a:lnTo>
                <a:lnTo>
                  <a:pt x="3126886" y="6629400"/>
                </a:lnTo>
                <a:close/>
                <a:moveTo>
                  <a:pt x="2084590" y="400050"/>
                </a:moveTo>
                <a:lnTo>
                  <a:pt x="3058910" y="400050"/>
                </a:lnTo>
                <a:lnTo>
                  <a:pt x="3058910" y="6457950"/>
                </a:lnTo>
                <a:lnTo>
                  <a:pt x="2084590" y="6457950"/>
                </a:lnTo>
                <a:close/>
                <a:moveTo>
                  <a:pt x="0" y="0"/>
                </a:moveTo>
                <a:lnTo>
                  <a:pt x="974320" y="0"/>
                </a:lnTo>
                <a:lnTo>
                  <a:pt x="974320" y="6057900"/>
                </a:lnTo>
                <a:lnTo>
                  <a:pt x="0" y="60579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23990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7259277" cy="6858000"/>
          </a:xfrm>
          <a:custGeom>
            <a:avLst/>
            <a:gdLst>
              <a:gd name="connsiteX0" fmla="*/ 352177 w 7259277"/>
              <a:gd name="connsiteY0" fmla="*/ 4725988 h 6858000"/>
              <a:gd name="connsiteX1" fmla="*/ 784505 w 7259277"/>
              <a:gd name="connsiteY1" fmla="*/ 5476112 h 6858000"/>
              <a:gd name="connsiteX2" fmla="*/ 961554 w 7259277"/>
              <a:gd name="connsiteY2" fmla="*/ 5579151 h 6858000"/>
              <a:gd name="connsiteX3" fmla="*/ 2756745 w 7259277"/>
              <a:gd name="connsiteY3" fmla="*/ 5579151 h 6858000"/>
              <a:gd name="connsiteX4" fmla="*/ 3106724 w 7259277"/>
              <a:gd name="connsiteY4" fmla="*/ 6189141 h 6858000"/>
              <a:gd name="connsiteX5" fmla="*/ 3106724 w 7259277"/>
              <a:gd name="connsiteY5" fmla="*/ 6271572 h 6858000"/>
              <a:gd name="connsiteX6" fmla="*/ 2825753 w 7259277"/>
              <a:gd name="connsiteY6" fmla="*/ 6757740 h 6858000"/>
              <a:gd name="connsiteX7" fmla="*/ 2767810 w 7259277"/>
              <a:gd name="connsiteY7" fmla="*/ 6858000 h 6858000"/>
              <a:gd name="connsiteX8" fmla="*/ 0 w 7259277"/>
              <a:gd name="connsiteY8" fmla="*/ 6858000 h 6858000"/>
              <a:gd name="connsiteX9" fmla="*/ 0 w 7259277"/>
              <a:gd name="connsiteY9" fmla="*/ 5336470 h 6858000"/>
              <a:gd name="connsiteX10" fmla="*/ 15121 w 7259277"/>
              <a:gd name="connsiteY10" fmla="*/ 5310258 h 6858000"/>
              <a:gd name="connsiteX11" fmla="*/ 352177 w 7259277"/>
              <a:gd name="connsiteY11" fmla="*/ 4725988 h 6858000"/>
              <a:gd name="connsiteX12" fmla="*/ 0 w 7259277"/>
              <a:gd name="connsiteY12" fmla="*/ 0 h 6858000"/>
              <a:gd name="connsiteX13" fmla="*/ 6242963 w 7259277"/>
              <a:gd name="connsiteY13" fmla="*/ 0 h 6858000"/>
              <a:gd name="connsiteX14" fmla="*/ 6287089 w 7259277"/>
              <a:gd name="connsiteY14" fmla="*/ 76600 h 6858000"/>
              <a:gd name="connsiteX15" fmla="*/ 7246929 w 7259277"/>
              <a:gd name="connsiteY15" fmla="*/ 1742815 h 6858000"/>
              <a:gd name="connsiteX16" fmla="*/ 7246929 w 7259277"/>
              <a:gd name="connsiteY16" fmla="*/ 1825244 h 6858000"/>
              <a:gd name="connsiteX17" fmla="*/ 5176626 w 7259277"/>
              <a:gd name="connsiteY17" fmla="*/ 5415024 h 6858000"/>
              <a:gd name="connsiteX18" fmla="*/ 5106655 w 7259277"/>
              <a:gd name="connsiteY18" fmla="*/ 5456238 h 6858000"/>
              <a:gd name="connsiteX19" fmla="*/ 961931 w 7259277"/>
              <a:gd name="connsiteY19" fmla="*/ 5456238 h 6858000"/>
              <a:gd name="connsiteX20" fmla="*/ 891961 w 7259277"/>
              <a:gd name="connsiteY20" fmla="*/ 5415024 h 6858000"/>
              <a:gd name="connsiteX21" fmla="*/ 18552 w 7259277"/>
              <a:gd name="connsiteY21" fmla="*/ 3900586 h 6858000"/>
              <a:gd name="connsiteX22" fmla="*/ 0 w 7259277"/>
              <a:gd name="connsiteY22" fmla="*/ 386841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7259277" h="6858000">
                <a:moveTo>
                  <a:pt x="352177" y="4725988"/>
                </a:moveTo>
                <a:cubicBezTo>
                  <a:pt x="352177" y="4725988"/>
                  <a:pt x="352177" y="4725988"/>
                  <a:pt x="784505" y="5476112"/>
                </a:cubicBezTo>
                <a:cubicBezTo>
                  <a:pt x="821562" y="5542057"/>
                  <a:pt x="887441" y="5579151"/>
                  <a:pt x="961554" y="5579151"/>
                </a:cubicBezTo>
                <a:cubicBezTo>
                  <a:pt x="961554" y="5579151"/>
                  <a:pt x="961554" y="5579151"/>
                  <a:pt x="2756745" y="5579151"/>
                </a:cubicBezTo>
                <a:lnTo>
                  <a:pt x="3106724" y="6189141"/>
                </a:lnTo>
                <a:cubicBezTo>
                  <a:pt x="3123194" y="6213870"/>
                  <a:pt x="3123194" y="6242721"/>
                  <a:pt x="3106724" y="6271572"/>
                </a:cubicBezTo>
                <a:cubicBezTo>
                  <a:pt x="3106724" y="6271572"/>
                  <a:pt x="3106724" y="6271572"/>
                  <a:pt x="2825753" y="6757740"/>
                </a:cubicBezTo>
                <a:lnTo>
                  <a:pt x="2767810" y="6858000"/>
                </a:lnTo>
                <a:lnTo>
                  <a:pt x="0" y="6858000"/>
                </a:lnTo>
                <a:lnTo>
                  <a:pt x="0" y="5336470"/>
                </a:lnTo>
                <a:lnTo>
                  <a:pt x="15121" y="5310258"/>
                </a:lnTo>
                <a:cubicBezTo>
                  <a:pt x="109013" y="5147502"/>
                  <a:pt x="220291" y="4954606"/>
                  <a:pt x="352177" y="4725988"/>
                </a:cubicBezTo>
                <a:close/>
                <a:moveTo>
                  <a:pt x="0" y="0"/>
                </a:moveTo>
                <a:lnTo>
                  <a:pt x="6242963" y="0"/>
                </a:lnTo>
                <a:lnTo>
                  <a:pt x="6287089" y="76600"/>
                </a:lnTo>
                <a:cubicBezTo>
                  <a:pt x="6543350" y="521451"/>
                  <a:pt x="6858747" y="1068959"/>
                  <a:pt x="7246929" y="1742815"/>
                </a:cubicBezTo>
                <a:cubicBezTo>
                  <a:pt x="7263393" y="1767544"/>
                  <a:pt x="7263393" y="1796394"/>
                  <a:pt x="7246929" y="1825244"/>
                </a:cubicBezTo>
                <a:cubicBezTo>
                  <a:pt x="7246929" y="1825244"/>
                  <a:pt x="7246929" y="1825244"/>
                  <a:pt x="5176626" y="5415024"/>
                </a:cubicBezTo>
                <a:cubicBezTo>
                  <a:pt x="5160163" y="5439752"/>
                  <a:pt x="5135467" y="5456238"/>
                  <a:pt x="5106655" y="5456238"/>
                </a:cubicBezTo>
                <a:cubicBezTo>
                  <a:pt x="5106655" y="5456238"/>
                  <a:pt x="5106655" y="5456238"/>
                  <a:pt x="961931" y="5456238"/>
                </a:cubicBezTo>
                <a:cubicBezTo>
                  <a:pt x="933120" y="5456238"/>
                  <a:pt x="904308" y="5439752"/>
                  <a:pt x="891961" y="5415024"/>
                </a:cubicBezTo>
                <a:cubicBezTo>
                  <a:pt x="891961" y="5415024"/>
                  <a:pt x="891961" y="5415024"/>
                  <a:pt x="18552" y="3900586"/>
                </a:cubicBezTo>
                <a:lnTo>
                  <a:pt x="0" y="386841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72361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927862" cy="6358848"/>
          </a:xfrm>
          <a:custGeom>
            <a:avLst/>
            <a:gdLst>
              <a:gd name="connsiteX0" fmla="*/ 0 w 6927862"/>
              <a:gd name="connsiteY0" fmla="*/ 0 h 6358848"/>
              <a:gd name="connsiteX1" fmla="*/ 6032527 w 6927862"/>
              <a:gd name="connsiteY1" fmla="*/ 0 h 6358848"/>
              <a:gd name="connsiteX2" fmla="*/ 6058984 w 6927862"/>
              <a:gd name="connsiteY2" fmla="*/ 45884 h 6358848"/>
              <a:gd name="connsiteX3" fmla="*/ 6872673 w 6927862"/>
              <a:gd name="connsiteY3" fmla="*/ 1457051 h 6358848"/>
              <a:gd name="connsiteX4" fmla="*/ 6872673 w 6927862"/>
              <a:gd name="connsiteY4" fmla="*/ 1878258 h 6358848"/>
              <a:gd name="connsiteX5" fmla="*/ 4407533 w 6927862"/>
              <a:gd name="connsiteY5" fmla="*/ 6148244 h 6358848"/>
              <a:gd name="connsiteX6" fmla="*/ 4044858 w 6927862"/>
              <a:gd name="connsiteY6" fmla="*/ 6358848 h 6358848"/>
              <a:gd name="connsiteX7" fmla="*/ 379196 w 6927862"/>
              <a:gd name="connsiteY7" fmla="*/ 6358848 h 6358848"/>
              <a:gd name="connsiteX8" fmla="*/ 0 w 6927862"/>
              <a:gd name="connsiteY8" fmla="*/ 6358848 h 6358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927862" h="6358848">
                <a:moveTo>
                  <a:pt x="0" y="0"/>
                </a:moveTo>
                <a:lnTo>
                  <a:pt x="6032527" y="0"/>
                </a:lnTo>
                <a:lnTo>
                  <a:pt x="6058984" y="45884"/>
                </a:lnTo>
                <a:cubicBezTo>
                  <a:pt x="6294906" y="455039"/>
                  <a:pt x="6564531" y="922645"/>
                  <a:pt x="6872673" y="1457051"/>
                </a:cubicBezTo>
                <a:cubicBezTo>
                  <a:pt x="6946259" y="1583413"/>
                  <a:pt x="6946259" y="1746631"/>
                  <a:pt x="6872673" y="1878258"/>
                </a:cubicBezTo>
                <a:cubicBezTo>
                  <a:pt x="6872673" y="1878258"/>
                  <a:pt x="6872673" y="1878258"/>
                  <a:pt x="4407533" y="6148244"/>
                </a:cubicBezTo>
                <a:cubicBezTo>
                  <a:pt x="4333947" y="6279872"/>
                  <a:pt x="4197287" y="6358848"/>
                  <a:pt x="4044858" y="6358848"/>
                </a:cubicBezTo>
                <a:cubicBezTo>
                  <a:pt x="4044858" y="6358848"/>
                  <a:pt x="4044858" y="6358848"/>
                  <a:pt x="379196" y="6358848"/>
                </a:cubicBezTo>
                <a:lnTo>
                  <a:pt x="0" y="635884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658932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087236" y="2876550"/>
            <a:ext cx="6104764" cy="3981450"/>
          </a:xfrm>
          <a:custGeom>
            <a:avLst/>
            <a:gdLst>
              <a:gd name="connsiteX0" fmla="*/ 1926470 w 6104764"/>
              <a:gd name="connsiteY0" fmla="*/ 0 h 3981450"/>
              <a:gd name="connsiteX1" fmla="*/ 5217450 w 6104764"/>
              <a:gd name="connsiteY1" fmla="*/ 0 h 3981450"/>
              <a:gd name="connsiteX2" fmla="*/ 5459796 w 6104764"/>
              <a:gd name="connsiteY2" fmla="*/ 140729 h 3981450"/>
              <a:gd name="connsiteX3" fmla="*/ 6071431 w 6104764"/>
              <a:gd name="connsiteY3" fmla="*/ 1201476 h 3981450"/>
              <a:gd name="connsiteX4" fmla="*/ 6104764 w 6104764"/>
              <a:gd name="connsiteY4" fmla="*/ 1259286 h 3981450"/>
              <a:gd name="connsiteX5" fmla="*/ 6104764 w 6104764"/>
              <a:gd name="connsiteY5" fmla="*/ 3981450 h 3981450"/>
              <a:gd name="connsiteX6" fmla="*/ 442429 w 6104764"/>
              <a:gd name="connsiteY6" fmla="*/ 3981450 h 3981450"/>
              <a:gd name="connsiteX7" fmla="*/ 326836 w 6104764"/>
              <a:gd name="connsiteY7" fmla="*/ 3781226 h 3981450"/>
              <a:gd name="connsiteX8" fmla="*/ 36879 w 6104764"/>
              <a:gd name="connsiteY8" fmla="*/ 3278977 h 3981450"/>
              <a:gd name="connsiteX9" fmla="*/ 36879 w 6104764"/>
              <a:gd name="connsiteY9" fmla="*/ 2997520 h 3981450"/>
              <a:gd name="connsiteX10" fmla="*/ 1684125 w 6104764"/>
              <a:gd name="connsiteY10" fmla="*/ 140729 h 3981450"/>
              <a:gd name="connsiteX11" fmla="*/ 1926470 w 6104764"/>
              <a:gd name="connsiteY11" fmla="*/ 0 h 398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104764" h="3981450">
                <a:moveTo>
                  <a:pt x="1926470" y="0"/>
                </a:moveTo>
                <a:cubicBezTo>
                  <a:pt x="1926470" y="0"/>
                  <a:pt x="1926470" y="0"/>
                  <a:pt x="5217450" y="0"/>
                </a:cubicBezTo>
                <a:cubicBezTo>
                  <a:pt x="5319306" y="0"/>
                  <a:pt x="5410624" y="52774"/>
                  <a:pt x="5459796" y="140729"/>
                </a:cubicBezTo>
                <a:cubicBezTo>
                  <a:pt x="5459796" y="140729"/>
                  <a:pt x="5459796" y="140729"/>
                  <a:pt x="6071431" y="1201476"/>
                </a:cubicBezTo>
                <a:lnTo>
                  <a:pt x="6104764" y="1259286"/>
                </a:lnTo>
                <a:lnTo>
                  <a:pt x="6104764" y="3981450"/>
                </a:lnTo>
                <a:lnTo>
                  <a:pt x="442429" y="3981450"/>
                </a:lnTo>
                <a:lnTo>
                  <a:pt x="326836" y="3781226"/>
                </a:lnTo>
                <a:cubicBezTo>
                  <a:pt x="236350" y="3624491"/>
                  <a:pt x="139832" y="3457307"/>
                  <a:pt x="36879" y="3278977"/>
                </a:cubicBezTo>
                <a:cubicBezTo>
                  <a:pt x="-12293" y="3191021"/>
                  <a:pt x="-12293" y="3081957"/>
                  <a:pt x="36879" y="2997520"/>
                </a:cubicBezTo>
                <a:cubicBezTo>
                  <a:pt x="36879" y="2997520"/>
                  <a:pt x="36879" y="2997520"/>
                  <a:pt x="1684125" y="140729"/>
                </a:cubicBezTo>
                <a:cubicBezTo>
                  <a:pt x="1733296" y="52774"/>
                  <a:pt x="1824615" y="0"/>
                  <a:pt x="192647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625668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Nav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Background pattern&#10;&#10;Description automatically generated">
            <a:extLst>
              <a:ext uri="{FF2B5EF4-FFF2-40B4-BE49-F238E27FC236}">
                <a16:creationId xmlns:a16="http://schemas.microsoft.com/office/drawing/2014/main" id="{76D16844-6333-3E4A-AF87-E77C05853F0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4528" y="1854201"/>
            <a:ext cx="7375649" cy="1655763"/>
          </a:xfrm>
        </p:spPr>
        <p:txBody>
          <a:bodyPr anchor="b">
            <a:noAutofit/>
          </a:bodyPr>
          <a:lstStyle>
            <a:lvl1pPr algn="l">
              <a:spcBef>
                <a:spcPts val="0"/>
              </a:spcBef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528" y="3602037"/>
            <a:ext cx="7375649" cy="1655763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239EE7-2778-0244-92FA-E41B4595189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7321" y="916290"/>
            <a:ext cx="2792832" cy="79191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E579AE1-0EF4-48E2-89A1-E8BFCB832B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797"/>
          <a:stretch/>
        </p:blipFill>
        <p:spPr>
          <a:xfrm>
            <a:off x="3695818" y="935803"/>
            <a:ext cx="2575833" cy="61154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D49F38C-0B23-402B-8788-FF8702A5D7D8}"/>
              </a:ext>
            </a:extLst>
          </p:cNvPr>
          <p:cNvSpPr txBox="1"/>
          <p:nvPr userDrawn="1"/>
        </p:nvSpPr>
        <p:spPr>
          <a:xfrm>
            <a:off x="0" y="6498394"/>
            <a:ext cx="6739637" cy="328343"/>
          </a:xfrm>
          <a:prstGeom prst="rect">
            <a:avLst/>
          </a:prstGeom>
          <a:noFill/>
        </p:spPr>
        <p:txBody>
          <a:bodyPr wrap="square" lIns="162545" tIns="81272" rIns="162545" bIns="81272" rtlCol="0" anchor="ctr">
            <a:spAutoFit/>
          </a:bodyPr>
          <a:lstStyle/>
          <a:p>
            <a:r>
              <a:rPr lang="en-US" sz="1067" b="0" i="0" kern="120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2022</a:t>
            </a:r>
            <a:r>
              <a:rPr lang="en-US" sz="1067" b="0" i="0" kern="1200" baseline="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en-US" sz="1067" b="0" i="0" kern="120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World Wide Technology, Inc. All rights reserve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844887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89367CF1-C3C7-2D4C-A2D2-5B88DF7DF5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4528" y="1854201"/>
            <a:ext cx="7375649" cy="1655763"/>
          </a:xfrm>
        </p:spPr>
        <p:txBody>
          <a:bodyPr anchor="b">
            <a:noAutofit/>
          </a:bodyPr>
          <a:lstStyle>
            <a:lvl1pPr algn="l">
              <a:spcBef>
                <a:spcPts val="0"/>
              </a:spcBef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528" y="3602037"/>
            <a:ext cx="7375649" cy="1655763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101D0B9-07EA-7049-99D4-264D289D3B1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321" y="916284"/>
            <a:ext cx="2792832" cy="79191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C1FEECE-7340-4D1D-844B-E497A8CBD6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prstClr val="black"/>
              <a:schemeClr val="accent3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797"/>
          <a:stretch/>
        </p:blipFill>
        <p:spPr>
          <a:xfrm>
            <a:off x="3695818" y="935803"/>
            <a:ext cx="2575833" cy="61154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2DA7816-2BEF-49C4-B140-3CE1C965C766}"/>
              </a:ext>
            </a:extLst>
          </p:cNvPr>
          <p:cNvSpPr txBox="1"/>
          <p:nvPr userDrawn="1"/>
        </p:nvSpPr>
        <p:spPr>
          <a:xfrm>
            <a:off x="0" y="6498394"/>
            <a:ext cx="6739637" cy="328343"/>
          </a:xfrm>
          <a:prstGeom prst="rect">
            <a:avLst/>
          </a:prstGeom>
          <a:noFill/>
        </p:spPr>
        <p:txBody>
          <a:bodyPr wrap="square" lIns="162545" tIns="81272" rIns="162545" bIns="81272" rtlCol="0" anchor="ctr">
            <a:spAutoFit/>
          </a:bodyPr>
          <a:lstStyle/>
          <a:p>
            <a:r>
              <a:rPr lang="en-US" sz="1067" b="0" i="0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2022</a:t>
            </a:r>
            <a:r>
              <a:rPr lang="en-US" sz="1067" b="0" i="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en-US" sz="1067" b="0" i="0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World Wide Technology, Inc. All rights reserve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9237128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tx1"/>
              </a:gs>
              <a:gs pos="0">
                <a:srgbClr val="30404F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9" tIns="60954" rIns="121909" bIns="60954" rtlCol="0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819405"/>
            <a:ext cx="10363200" cy="1104451"/>
          </a:xfrm>
        </p:spPr>
        <p:txBody>
          <a:bodyPr>
            <a:noAutofit/>
          </a:bodyPr>
          <a:lstStyle>
            <a:lvl1pPr algn="l">
              <a:defRPr sz="4400" b="0" i="0">
                <a:solidFill>
                  <a:schemeClr val="bg1"/>
                </a:solidFill>
                <a:latin typeface="Arial"/>
                <a:ea typeface="Verdana" pitchFamily="34" charset="0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15" y="3657937"/>
            <a:ext cx="8597900" cy="817601"/>
          </a:xfrm>
          <a:prstGeom prst="rect">
            <a:avLst/>
          </a:prstGeom>
        </p:spPr>
        <p:txBody>
          <a:bodyPr lIns="121917" tIns="60958" rIns="121917" bIns="60958">
            <a:normAutofit/>
          </a:bodyPr>
          <a:lstStyle>
            <a:lvl1pPr marL="76193" indent="0" algn="l">
              <a:buNone/>
              <a:defRPr sz="2700">
                <a:solidFill>
                  <a:schemeClr val="bg1"/>
                </a:solidFill>
                <a:latin typeface="Arial"/>
                <a:cs typeface="Arial"/>
              </a:defRPr>
            </a:lvl1pPr>
            <a:lvl2pPr marL="609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0" y="6553200"/>
            <a:ext cx="12192000" cy="3048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9" tIns="60954" rIns="121909" bIns="60954"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/>
          <p:cNvSpPr txBox="1"/>
          <p:nvPr userDrawn="1"/>
        </p:nvSpPr>
        <p:spPr>
          <a:xfrm>
            <a:off x="203200" y="6563260"/>
            <a:ext cx="6908800" cy="284681"/>
          </a:xfrm>
          <a:prstGeom prst="rect">
            <a:avLst/>
          </a:prstGeom>
          <a:noFill/>
        </p:spPr>
        <p:txBody>
          <a:bodyPr wrap="square" lIns="121909" tIns="60954" rIns="121909" bIns="60954" rtlCol="0" anchor="ctr">
            <a:spAutoFit/>
          </a:bodyPr>
          <a:lstStyle/>
          <a:p>
            <a:r>
              <a:rPr lang="en-US" sz="1050" b="0" i="0" kern="120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2022</a:t>
            </a:r>
            <a:r>
              <a:rPr lang="en-US" sz="1050" b="0" i="0" kern="1200" baseline="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en-US" sz="1050" b="0" i="0" kern="120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World Wide Technology, Inc. All rights reserved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97ECB33-87CA-8F45-9539-C9FA23FE6F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646" y="1580275"/>
            <a:ext cx="5591907" cy="61338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461558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198C4F2-B7A3-964A-B48C-FCAC7BAAB14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85" y="1576"/>
            <a:ext cx="12184841" cy="685486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598072"/>
            <a:ext cx="10515600" cy="1500187"/>
          </a:xfrm>
        </p:spPr>
        <p:txBody>
          <a:bodyPr anchor="b">
            <a:noAutofit/>
          </a:bodyPr>
          <a:lstStyle>
            <a:lvl1pPr algn="ctr">
              <a:spcBef>
                <a:spcPts val="0"/>
              </a:spcBef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3319128"/>
            <a:ext cx="10515600" cy="1306309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4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8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5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85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1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99017C11-1086-6B49-95E7-3ED01C56F8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49208" y="5156196"/>
            <a:ext cx="2293584" cy="50276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1537800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5E871A-287F-4448-96C3-7B18B6F646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BA677169-CDC6-4034-9FC5-31E08D578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204" y="275073"/>
            <a:ext cx="10515600" cy="8119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3B42EB1F-B8F4-4806-A247-027DBB961C4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2739" y="6448639"/>
            <a:ext cx="11241061" cy="26857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7219399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D6D75FD-F495-4632-BF15-D50E50A196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10518"/>
            <a:ext cx="10515600" cy="4766452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7"/>
            <a:ext cx="12192000" cy="93867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708D89-33CF-4A1F-8918-F9DE3D28E5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8554" y="988523"/>
            <a:ext cx="10515709" cy="377048"/>
          </a:xfrm>
        </p:spPr>
        <p:txBody>
          <a:bodyPr/>
          <a:lstStyle>
            <a:lvl1pPr marL="0" indent="0">
              <a:buNone/>
              <a:defRPr sz="1800" b="1"/>
            </a:lvl1pPr>
            <a:lvl2pPr marL="457167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501E587-9B45-4316-A345-57357C863B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204" y="275073"/>
            <a:ext cx="10515600" cy="8119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3562BE6D-8AEE-4D0E-B1A5-14DF8F6A0D9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2739" y="6448639"/>
            <a:ext cx="11241061" cy="26857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383238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Whit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5E871A-287F-4448-96C3-7B18B6F646E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00464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B2DF316-7124-284A-B4F1-E3CF7FCF46A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2B09B2A-351A-9944-9A3C-4FCB2EF57C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5D1F2FED-4299-467D-9C20-1066455B63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2739" y="6448639"/>
            <a:ext cx="11241061" cy="26857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219005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gray background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5C98F7E-3FA1-1346-A67F-6D0B91EF3D6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31397FE-DEA1-6D44-9EA0-08CAF10EDF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D97CD980-4659-4714-A3A3-8B7809B9915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2739" y="6448639"/>
            <a:ext cx="11241061" cy="26857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8201206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emphasis and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29AE693-0ABA-5647-A79F-DDC42B3BACDD}"/>
              </a:ext>
            </a:extLst>
          </p:cNvPr>
          <p:cNvSpPr/>
          <p:nvPr userDrawn="1"/>
        </p:nvSpPr>
        <p:spPr>
          <a:xfrm>
            <a:off x="7367407" y="0"/>
            <a:ext cx="4824596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641572"/>
            <a:ext cx="6220899" cy="54770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446035"/>
            <a:ext cx="6220899" cy="490160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0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945D0D9-27D2-CA48-8163-FBAAD2C965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6" y="287080"/>
            <a:ext cx="6221287" cy="354271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rgbClr val="0086EA"/>
                </a:solidFill>
              </a:defRPr>
            </a:lvl2pPr>
            <a:lvl3pPr>
              <a:buNone/>
              <a:defRPr>
                <a:solidFill>
                  <a:srgbClr val="0086EA"/>
                </a:solidFill>
              </a:defRPr>
            </a:lvl3pPr>
            <a:lvl4pPr>
              <a:buNone/>
              <a:defRPr>
                <a:solidFill>
                  <a:srgbClr val="0086EA"/>
                </a:solidFill>
              </a:defRPr>
            </a:lvl4pPr>
            <a:lvl5pPr>
              <a:buNone/>
              <a:defRPr>
                <a:solidFill>
                  <a:srgbClr val="0086EA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D566892-ABAA-3644-BCA7-29EF96D03456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7367019" y="0"/>
            <a:ext cx="4824596" cy="3429000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43" indent="0">
              <a:buNone/>
              <a:defRPr sz="2800"/>
            </a:lvl2pPr>
            <a:lvl3pPr marL="914286" indent="0">
              <a:buNone/>
              <a:defRPr sz="2400"/>
            </a:lvl3pPr>
            <a:lvl4pPr marL="1371430" indent="0">
              <a:buNone/>
              <a:defRPr sz="2000"/>
            </a:lvl4pPr>
            <a:lvl5pPr marL="1828573" indent="0">
              <a:buNone/>
              <a:defRPr sz="2000"/>
            </a:lvl5pPr>
            <a:lvl6pPr marL="2285718" indent="0">
              <a:buNone/>
              <a:defRPr sz="2000"/>
            </a:lvl6pPr>
            <a:lvl7pPr marL="2742858" indent="0">
              <a:buNone/>
              <a:defRPr sz="2000"/>
            </a:lvl7pPr>
            <a:lvl8pPr marL="3200000" indent="0">
              <a:buNone/>
              <a:defRPr sz="2000"/>
            </a:lvl8pPr>
            <a:lvl9pPr marL="3657143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627C85-413D-F64C-8CB0-0E4D3437556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03281" y="3667925"/>
            <a:ext cx="3952064" cy="267971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900">
                <a:solidFill>
                  <a:srgbClr val="505050"/>
                </a:solidFill>
              </a:defRPr>
            </a:lvl3pPr>
            <a:lvl4pPr>
              <a:defRPr sz="800">
                <a:solidFill>
                  <a:srgbClr val="505050"/>
                </a:solidFill>
              </a:defRPr>
            </a:lvl4pPr>
            <a:lvl5pPr>
              <a:defRPr sz="800"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2052A631-2ADD-43B8-97BA-92E35D8CE8C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12739" y="6448639"/>
            <a:ext cx="11241061" cy="26857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3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134978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wo content z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 userDrawn="1"/>
        </p:nvSpPr>
        <p:spPr>
          <a:xfrm>
            <a:off x="7100268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4" y="365133"/>
            <a:ext cx="5957381" cy="811921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4" y="1410515"/>
            <a:ext cx="5957381" cy="4766452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95A3962-55ED-8C40-AA36-DC8AC2758F0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596320" y="1410515"/>
            <a:ext cx="4099641" cy="4766452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0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9E53EA4-444F-4B5A-B892-3A3DAAB1C5B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2739" y="6448639"/>
            <a:ext cx="11241061" cy="26857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6328008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 userDrawn="1"/>
        </p:nvSpPr>
        <p:spPr>
          <a:xfrm>
            <a:off x="7100268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4" y="365133"/>
            <a:ext cx="5957381" cy="81192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4" y="1410515"/>
            <a:ext cx="5957381" cy="47664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AE6F173-2A3B-7F43-9627-694572B6F067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7596320" y="365128"/>
            <a:ext cx="4099641" cy="5811837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43" indent="0">
              <a:buNone/>
              <a:defRPr sz="2800"/>
            </a:lvl2pPr>
            <a:lvl3pPr marL="914286" indent="0">
              <a:buNone/>
              <a:defRPr sz="2400"/>
            </a:lvl3pPr>
            <a:lvl4pPr marL="1371430" indent="0">
              <a:buNone/>
              <a:defRPr sz="2000"/>
            </a:lvl4pPr>
            <a:lvl5pPr marL="1828573" indent="0">
              <a:buNone/>
              <a:defRPr sz="2000"/>
            </a:lvl5pPr>
            <a:lvl6pPr marL="2285718" indent="0">
              <a:buNone/>
              <a:defRPr sz="2000"/>
            </a:lvl6pPr>
            <a:lvl7pPr marL="2742858" indent="0">
              <a:buNone/>
              <a:defRPr sz="2000"/>
            </a:lvl7pPr>
            <a:lvl8pPr marL="3200000" indent="0">
              <a:buNone/>
              <a:defRPr sz="2000"/>
            </a:lvl8pPr>
            <a:lvl9pPr marL="3657143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8E391B03-2A5A-4B4E-BF6A-14340D6FD42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12739" y="6448639"/>
            <a:ext cx="11241061" cy="26857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353290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 userDrawn="1"/>
        </p:nvSpPr>
        <p:spPr>
          <a:xfrm>
            <a:off x="0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87780" y="365133"/>
            <a:ext cx="5957381" cy="81192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7780" y="1410515"/>
            <a:ext cx="5957381" cy="47664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AE6F173-2A3B-7F43-9627-694572B6F067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3" y="0"/>
            <a:ext cx="4900972" cy="6858000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43" indent="0">
              <a:buNone/>
              <a:defRPr sz="2800"/>
            </a:lvl2pPr>
            <a:lvl3pPr marL="914286" indent="0">
              <a:buNone/>
              <a:defRPr sz="2400"/>
            </a:lvl3pPr>
            <a:lvl4pPr marL="1371430" indent="0">
              <a:buNone/>
              <a:defRPr sz="2000"/>
            </a:lvl4pPr>
            <a:lvl5pPr marL="1828573" indent="0">
              <a:buNone/>
              <a:defRPr sz="2000"/>
            </a:lvl5pPr>
            <a:lvl6pPr marL="2285718" indent="0">
              <a:buNone/>
              <a:defRPr sz="2000"/>
            </a:lvl6pPr>
            <a:lvl7pPr marL="2742858" indent="0">
              <a:buNone/>
              <a:defRPr sz="2000"/>
            </a:lvl7pPr>
            <a:lvl8pPr marL="3200000" indent="0">
              <a:buNone/>
              <a:defRPr sz="2000"/>
            </a:lvl8pPr>
            <a:lvl9pPr marL="3657143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D8AC9FD-618E-B24B-9587-DE9E8F9E1E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8A5302CD-6728-496B-929A-6B1557F54F1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12739" y="6448639"/>
            <a:ext cx="11241061" cy="26857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135927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410515"/>
            <a:ext cx="5181600" cy="476645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410515"/>
            <a:ext cx="5181600" cy="476645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F10EE1-DD34-B345-A74A-427B234620B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6FE17D3-BAA5-4063-9715-9D8A99BA196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2739" y="6448639"/>
            <a:ext cx="11241061" cy="26857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4231748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conten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340695"/>
            <a:ext cx="5157787" cy="823912"/>
          </a:xfrm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bg2"/>
                </a:solidFill>
              </a:defRPr>
            </a:lvl1pPr>
            <a:lvl2pPr marL="457143" indent="0">
              <a:buNone/>
              <a:defRPr sz="2000" b="1"/>
            </a:lvl2pPr>
            <a:lvl3pPr marL="914286" indent="0">
              <a:buNone/>
              <a:defRPr sz="1800" b="1"/>
            </a:lvl3pPr>
            <a:lvl4pPr marL="1371430" indent="0">
              <a:buNone/>
              <a:defRPr sz="1600" b="1"/>
            </a:lvl4pPr>
            <a:lvl5pPr marL="1828573" indent="0">
              <a:buNone/>
              <a:defRPr sz="1600" b="1"/>
            </a:lvl5pPr>
            <a:lvl6pPr marL="2285718" indent="0">
              <a:buNone/>
              <a:defRPr sz="1600" b="1"/>
            </a:lvl6pPr>
            <a:lvl7pPr marL="2742858" indent="0">
              <a:buNone/>
              <a:defRPr sz="1600" b="1"/>
            </a:lvl7pPr>
            <a:lvl8pPr marL="3200000" indent="0">
              <a:buNone/>
              <a:defRPr sz="1600" b="1"/>
            </a:lvl8pPr>
            <a:lvl9pPr marL="365714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316270"/>
            <a:ext cx="5157787" cy="387339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0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340695"/>
            <a:ext cx="5183188" cy="823912"/>
          </a:xfrm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bg2"/>
                </a:solidFill>
              </a:defRPr>
            </a:lvl1pPr>
            <a:lvl2pPr marL="457143" indent="0">
              <a:buNone/>
              <a:defRPr sz="2000" b="1"/>
            </a:lvl2pPr>
            <a:lvl3pPr marL="914286" indent="0">
              <a:buNone/>
              <a:defRPr sz="1800" b="1"/>
            </a:lvl3pPr>
            <a:lvl4pPr marL="1371430" indent="0">
              <a:buNone/>
              <a:defRPr sz="1600" b="1"/>
            </a:lvl4pPr>
            <a:lvl5pPr marL="1828573" indent="0">
              <a:buNone/>
              <a:defRPr sz="1600" b="1"/>
            </a:lvl5pPr>
            <a:lvl6pPr marL="2285718" indent="0">
              <a:buNone/>
              <a:defRPr sz="1600" b="1"/>
            </a:lvl6pPr>
            <a:lvl7pPr marL="2742858" indent="0">
              <a:buNone/>
              <a:defRPr sz="1600" b="1"/>
            </a:lvl7pPr>
            <a:lvl8pPr marL="3200000" indent="0">
              <a:buNone/>
              <a:defRPr sz="1600" b="1"/>
            </a:lvl8pPr>
            <a:lvl9pPr marL="365714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316270"/>
            <a:ext cx="5183188" cy="387339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0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C9246B4-8547-0244-A8A1-CFF4AD6BD4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B30C50F-4B47-417D-9B38-0194F2E3A2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204" y="275073"/>
            <a:ext cx="10515600" cy="8119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EB3B8491-C628-4787-8129-EF593935B0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2739" y="6448639"/>
            <a:ext cx="11241061" cy="26857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9788870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4279C3E-A58B-2242-A545-FD30234FD1A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559AE80-4F93-FA4F-B929-081C7576BF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33"/>
            <a:ext cx="6172200" cy="4873625"/>
          </a:xfrm>
        </p:spPr>
        <p:txBody>
          <a:bodyPr>
            <a:noAutofit/>
          </a:bodyPr>
          <a:lstStyle>
            <a:lvl1pPr>
              <a:defRPr sz="27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211922"/>
            <a:ext cx="3932237" cy="365706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2"/>
                </a:solidFill>
              </a:defRPr>
            </a:lvl1pPr>
            <a:lvl2pPr marL="457143" indent="0">
              <a:buNone/>
              <a:defRPr sz="1400"/>
            </a:lvl2pPr>
            <a:lvl3pPr marL="914286" indent="0">
              <a:buNone/>
              <a:defRPr sz="1200"/>
            </a:lvl3pPr>
            <a:lvl4pPr marL="1371430" indent="0">
              <a:buNone/>
              <a:defRPr sz="1000"/>
            </a:lvl4pPr>
            <a:lvl5pPr marL="1828573" indent="0">
              <a:buNone/>
              <a:defRPr sz="1000"/>
            </a:lvl5pPr>
            <a:lvl6pPr marL="2285718" indent="0">
              <a:buNone/>
              <a:defRPr sz="1000"/>
            </a:lvl6pPr>
            <a:lvl7pPr marL="2742858" indent="0">
              <a:buNone/>
              <a:defRPr sz="1000"/>
            </a:lvl7pPr>
            <a:lvl8pPr marL="3200000" indent="0">
              <a:buNone/>
              <a:defRPr sz="1000"/>
            </a:lvl8pPr>
            <a:lvl9pPr marL="365714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BDB2E16-32A4-AF4B-9059-DD4B3639EB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EAE9EC65-5C99-4BEF-A44F-CA870074B6B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2739" y="6448639"/>
            <a:ext cx="11241061" cy="26857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238244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33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43" indent="0">
              <a:buNone/>
              <a:defRPr sz="2800"/>
            </a:lvl2pPr>
            <a:lvl3pPr marL="914286" indent="0">
              <a:buNone/>
              <a:defRPr sz="2400"/>
            </a:lvl3pPr>
            <a:lvl4pPr marL="1371430" indent="0">
              <a:buNone/>
              <a:defRPr sz="2000"/>
            </a:lvl4pPr>
            <a:lvl5pPr marL="1828573" indent="0">
              <a:buNone/>
              <a:defRPr sz="2000"/>
            </a:lvl5pPr>
            <a:lvl6pPr marL="2285718" indent="0">
              <a:buNone/>
              <a:defRPr sz="2000"/>
            </a:lvl6pPr>
            <a:lvl7pPr marL="2742858" indent="0">
              <a:buNone/>
              <a:defRPr sz="2000"/>
            </a:lvl7pPr>
            <a:lvl8pPr marL="3200000" indent="0">
              <a:buNone/>
              <a:defRPr sz="2000"/>
            </a:lvl8pPr>
            <a:lvl9pPr marL="3657143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211922"/>
            <a:ext cx="3932237" cy="365706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2"/>
                </a:solidFill>
              </a:defRPr>
            </a:lvl1pPr>
            <a:lvl2pPr marL="457143" indent="0">
              <a:buNone/>
              <a:defRPr sz="1400"/>
            </a:lvl2pPr>
            <a:lvl3pPr marL="914286" indent="0">
              <a:buNone/>
              <a:defRPr sz="1200"/>
            </a:lvl3pPr>
            <a:lvl4pPr marL="1371430" indent="0">
              <a:buNone/>
              <a:defRPr sz="1000"/>
            </a:lvl4pPr>
            <a:lvl5pPr marL="1828573" indent="0">
              <a:buNone/>
              <a:defRPr sz="1000"/>
            </a:lvl5pPr>
            <a:lvl6pPr marL="2285718" indent="0">
              <a:buNone/>
              <a:defRPr sz="1000"/>
            </a:lvl6pPr>
            <a:lvl7pPr marL="2742858" indent="0">
              <a:buNone/>
              <a:defRPr sz="1000"/>
            </a:lvl7pPr>
            <a:lvl8pPr marL="3200000" indent="0">
              <a:buNone/>
              <a:defRPr sz="1000"/>
            </a:lvl8pPr>
            <a:lvl9pPr marL="365714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53628DD-4BEA-0D43-86F7-5AC3BE93C5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02DF55B-0C82-0C4F-A4E7-7BE9E96949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C30DEF04-481C-43CA-B180-7310FABCF0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2739" y="6448639"/>
            <a:ext cx="11241061" cy="26857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040660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White with tr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674021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ultur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3A7B6F4-6436-F242-8F6A-DD1937B4E77D}"/>
              </a:ext>
            </a:extLst>
          </p:cNvPr>
          <p:cNvGrpSpPr/>
          <p:nvPr userDrawn="1"/>
        </p:nvGrpSpPr>
        <p:grpSpPr>
          <a:xfrm>
            <a:off x="4375" y="0"/>
            <a:ext cx="12187631" cy="6858000"/>
            <a:chOff x="8739" y="-1"/>
            <a:chExt cx="24378435" cy="1371600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CE0A0F-E976-8C4F-A3B5-4CA2332386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67743" y="-1"/>
              <a:ext cx="21019431" cy="13716001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F58673A-3513-5743-958C-9C412BB83FA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39" y="5723738"/>
              <a:ext cx="7992261" cy="7992261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9F57033-62A5-2F4A-A1A0-4D5EDB3A5E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8739" y="2982686"/>
              <a:ext cx="8472886" cy="1073331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4" y="365133"/>
            <a:ext cx="5774389" cy="8119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4" y="1410515"/>
            <a:ext cx="5774389" cy="4766452"/>
          </a:xfrm>
        </p:spPr>
        <p:txBody>
          <a:bodyPr/>
          <a:lstStyle>
            <a:lvl1pPr>
              <a:buNone/>
              <a:defRPr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2F8B860-788E-C94C-8B7F-A0F8612C5C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448555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glob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3A7B6F4-6436-F242-8F6A-DD1937B4E77D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-1"/>
            <a:chExt cx="24387174" cy="1371600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CE0A0F-E976-8C4F-A3B5-4CA2332386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67743" y="-1"/>
              <a:ext cx="21019431" cy="13716001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F58673A-3513-5743-958C-9C412BB83FA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429" y="5723738"/>
              <a:ext cx="7988881" cy="7992261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9F57033-62A5-2F4A-A1A0-4D5EDB3A5E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0" y="2982686"/>
              <a:ext cx="8472886" cy="1073331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4" y="365133"/>
            <a:ext cx="5774389" cy="8119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4" y="1410515"/>
            <a:ext cx="5774389" cy="4766452"/>
          </a:xfrm>
        </p:spPr>
        <p:txBody>
          <a:bodyPr/>
          <a:lstStyle>
            <a:lvl1pPr>
              <a:buNone/>
              <a:defRPr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0026E35-AE92-3445-9E54-A0E496165B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0182695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ATC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BC47A49E-927A-1344-A669-95309DFE1783}"/>
              </a:ext>
            </a:extLst>
          </p:cNvPr>
          <p:cNvGrpSpPr/>
          <p:nvPr userDrawn="1"/>
        </p:nvGrpSpPr>
        <p:grpSpPr>
          <a:xfrm>
            <a:off x="5214" y="0"/>
            <a:ext cx="12192203" cy="6858000"/>
            <a:chOff x="10429" y="-1"/>
            <a:chExt cx="24387581" cy="1371600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CE0A0F-E976-8C4F-A3B5-4CA2332386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10429" y="-1"/>
              <a:ext cx="24366316" cy="13716001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3104CA5-8EFF-954C-B094-7039A519266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414813" y="5724144"/>
              <a:ext cx="7983197" cy="7991856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9F57033-62A5-2F4A-A1A0-4D5EDB3A5E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5925124" y="2982686"/>
              <a:ext cx="8472886" cy="1073331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4" y="365133"/>
            <a:ext cx="5774389" cy="8119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4" y="1410515"/>
            <a:ext cx="5774389" cy="4766452"/>
          </a:xfrm>
        </p:spPr>
        <p:txBody>
          <a:bodyPr/>
          <a:lstStyle>
            <a:lvl1pPr>
              <a:buNone/>
              <a:defRPr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006062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- Three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0683" cy="61325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 i="0" cap="none" baseline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/>
              <a:t>Click here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A699DD5-791B-EC44-B50F-F71D212A228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1165" y="805826"/>
            <a:ext cx="10970683" cy="4016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1E49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B97EF7FD-AC07-4540-A7ED-A904090BBFB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08541" y="6525491"/>
            <a:ext cx="11637095" cy="23552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5E6FFF6-AE8A-457C-A0E8-409EF4ECB52A}"/>
              </a:ext>
            </a:extLst>
          </p:cNvPr>
          <p:cNvCxnSpPr>
            <a:cxnSpLocks/>
          </p:cNvCxnSpPr>
          <p:nvPr userDrawn="1"/>
        </p:nvCxnSpPr>
        <p:spPr>
          <a:xfrm>
            <a:off x="651165" y="2551473"/>
            <a:ext cx="3231967" cy="0"/>
          </a:xfrm>
          <a:prstGeom prst="line">
            <a:avLst/>
          </a:prstGeom>
          <a:ln w="41275">
            <a:solidFill>
              <a:srgbClr val="3760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72AD259-18C8-49AD-9B1D-7BAE4C3AD1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1165" y="2701554"/>
            <a:ext cx="3232357" cy="35884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85850" indent="-171450">
              <a:buFont typeface="AppleSymbols" panose="02000000000000000000" pitchFamily="2" charset="-79"/>
              <a:buChar char="⎼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A3301AD4-1F0A-403D-BB65-F2C85F2AA1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165" y="1829001"/>
            <a:ext cx="3232357" cy="68111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85850" indent="-171450">
              <a:buFont typeface="AppleSymbols" panose="02000000000000000000" pitchFamily="2" charset="-79"/>
              <a:buChar char="⎼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EDA3B2B-88C8-4E55-B4FC-823C4D603CD2}"/>
              </a:ext>
            </a:extLst>
          </p:cNvPr>
          <p:cNvCxnSpPr>
            <a:cxnSpLocks/>
          </p:cNvCxnSpPr>
          <p:nvPr userDrawn="1"/>
        </p:nvCxnSpPr>
        <p:spPr>
          <a:xfrm>
            <a:off x="4499936" y="2551473"/>
            <a:ext cx="3231967" cy="0"/>
          </a:xfrm>
          <a:prstGeom prst="line">
            <a:avLst/>
          </a:prstGeom>
          <a:ln w="41275">
            <a:solidFill>
              <a:srgbClr val="3760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A54917B7-B1CE-4434-9AF5-56F5A8E096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99546" y="2701554"/>
            <a:ext cx="3232357" cy="35884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85850" indent="-171450">
              <a:buFont typeface="AppleSymbols" panose="02000000000000000000" pitchFamily="2" charset="-79"/>
              <a:buChar char="⎼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731CA0C2-AEC0-427C-946D-B6E0A3E6A2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99546" y="1829001"/>
            <a:ext cx="3232357" cy="68111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85850" indent="-171450">
              <a:buFont typeface="AppleSymbols" panose="02000000000000000000" pitchFamily="2" charset="-79"/>
              <a:buChar char="⎼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462EC7B-467D-4C8A-93CF-42FA721630DC}"/>
              </a:ext>
            </a:extLst>
          </p:cNvPr>
          <p:cNvCxnSpPr>
            <a:cxnSpLocks/>
          </p:cNvCxnSpPr>
          <p:nvPr userDrawn="1"/>
        </p:nvCxnSpPr>
        <p:spPr>
          <a:xfrm>
            <a:off x="8348316" y="2551473"/>
            <a:ext cx="3231967" cy="0"/>
          </a:xfrm>
          <a:prstGeom prst="line">
            <a:avLst/>
          </a:prstGeom>
          <a:ln w="41275">
            <a:solidFill>
              <a:srgbClr val="3760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733433FF-A912-4587-8818-9618E351C78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47926" y="2701554"/>
            <a:ext cx="3232357" cy="35884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85850" indent="-171450">
              <a:buFont typeface="AppleSymbols" panose="02000000000000000000" pitchFamily="2" charset="-79"/>
              <a:buChar char="⎼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AFE4C2A-93D1-4A83-90B3-361FA1F8CA2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47926" y="1829001"/>
            <a:ext cx="3232357" cy="68111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85850" indent="-171450">
              <a:buFont typeface="AppleSymbols" panose="02000000000000000000" pitchFamily="2" charset="-79"/>
              <a:buChar char="⎼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B1D933BE-7CF3-4CBC-A37F-F782178F45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D239C3A3-48E3-4C31-8080-E1A709C172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773509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 - Two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0683" cy="61325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 i="0" cap="none" baseline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/>
              <a:t>Click here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A699DD5-791B-EC44-B50F-F71D212A228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1165" y="805826"/>
            <a:ext cx="10970683" cy="4016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1E49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303670B-27DA-2A44-B1D0-A7422F903EA3}"/>
              </a:ext>
            </a:extLst>
          </p:cNvPr>
          <p:cNvCxnSpPr>
            <a:cxnSpLocks/>
          </p:cNvCxnSpPr>
          <p:nvPr userDrawn="1"/>
        </p:nvCxnSpPr>
        <p:spPr>
          <a:xfrm>
            <a:off x="1290482" y="2551473"/>
            <a:ext cx="4225415" cy="0"/>
          </a:xfrm>
          <a:prstGeom prst="line">
            <a:avLst/>
          </a:prstGeom>
          <a:ln w="41275">
            <a:solidFill>
              <a:srgbClr val="3760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EC2465D-699D-1A4F-B152-FC44F02B2040}"/>
              </a:ext>
            </a:extLst>
          </p:cNvPr>
          <p:cNvCxnSpPr>
            <a:cxnSpLocks/>
          </p:cNvCxnSpPr>
          <p:nvPr userDrawn="1"/>
        </p:nvCxnSpPr>
        <p:spPr>
          <a:xfrm>
            <a:off x="6649068" y="2551473"/>
            <a:ext cx="4225415" cy="0"/>
          </a:xfrm>
          <a:prstGeom prst="line">
            <a:avLst/>
          </a:prstGeom>
          <a:ln w="41275">
            <a:solidFill>
              <a:srgbClr val="3760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D68C181-DC4D-A142-A67E-C7D048252EE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90482" y="2701554"/>
            <a:ext cx="4225925" cy="35884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85850" indent="-171450">
              <a:buFont typeface="AppleSymbols" panose="02000000000000000000" pitchFamily="2" charset="-79"/>
              <a:buChar char="⎼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22039B31-2B00-614C-A0A6-62BE4F65E0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49068" y="2701554"/>
            <a:ext cx="4225925" cy="35884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85850" indent="-171450">
              <a:buFont typeface="AppleSymbols" panose="02000000000000000000" pitchFamily="2" charset="-79"/>
              <a:buChar char="⎼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1074CA1-A4F1-5B4B-A8D4-720E6B1D4B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972" y="1829001"/>
            <a:ext cx="4225925" cy="68111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85850" indent="-171450">
              <a:buFont typeface="AppleSymbols" panose="02000000000000000000" pitchFamily="2" charset="-79"/>
              <a:buChar char="⎼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266F41E1-019B-2C4F-9FE9-33A81F6D2A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48558" y="1829001"/>
            <a:ext cx="4225925" cy="68111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85850" indent="-171450">
              <a:buFont typeface="AppleSymbols" panose="02000000000000000000" pitchFamily="2" charset="-79"/>
              <a:buChar char="⎼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B97EF7FD-AC07-4540-A7ED-A904090BBFB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08541" y="6525491"/>
            <a:ext cx="11637095" cy="23552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FE5919E-A27B-4DAD-97D3-C26841F2707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AA25C10-0B41-4E3F-B1C8-2E3F2F437C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516531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y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222A5EA9-E86D-8342-B5F4-5F5D21A6912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10B081-01C7-F14C-9DD4-55915E41B8E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74225" y="2707349"/>
            <a:ext cx="4851155" cy="137556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6354224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1778F5C-7751-044E-9875-95293E60465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pic>
        <p:nvPicPr>
          <p:cNvPr id="8" name="Picture 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CEE64997-BA17-9648-8019-22C2774A6F1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4225" y="2707349"/>
            <a:ext cx="4851155" cy="137556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5838373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-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0683" cy="61325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 i="0" cap="none" baseline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/>
              <a:t>Click here to add tit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E448B19-0CB4-3043-9B1D-AE5E1E187FC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08541" y="6525491"/>
            <a:ext cx="11650950" cy="23552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7705282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46CBB0C-ED37-0341-B07B-45E241F4DC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2847167"/>
              </p:ext>
            </p:extLst>
          </p:nvPr>
        </p:nvGraphicFramePr>
        <p:xfrm>
          <a:off x="794" y="794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46CBB0C-ED37-0341-B07B-45E241F4DC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EB2DF316-7124-284A-B4F1-E3CF7FCF46A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6"/>
            <a:ext cx="12192000" cy="9386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2DABF975-A907-D943-9342-4442F9C85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F773F72A-CFD0-4E45-9DA7-411D35A4208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5829" y="6466418"/>
            <a:ext cx="7731368" cy="261745"/>
          </a:xfrm>
        </p:spPr>
        <p:txBody>
          <a:bodyPr/>
          <a:lstStyle>
            <a:lvl1pPr marL="0" indent="0">
              <a:buNone/>
              <a:defRPr sz="1000"/>
            </a:lvl1pPr>
            <a:lvl2pPr marL="457086" indent="0">
              <a:buNone/>
              <a:defRPr sz="1000"/>
            </a:lvl2pPr>
            <a:lvl3pPr marL="914171" indent="0">
              <a:buNone/>
              <a:defRPr sz="1000"/>
            </a:lvl3pPr>
            <a:lvl4pPr marL="1371257" indent="0">
              <a:buNone/>
              <a:defRPr sz="1000"/>
            </a:lvl4pPr>
            <a:lvl5pPr marL="1828343" indent="0">
              <a:buNone/>
              <a:defRPr sz="1000"/>
            </a:lvl5pPr>
          </a:lstStyle>
          <a:p>
            <a:pPr lvl="0"/>
            <a:r>
              <a:rPr lang="en-US"/>
              <a:t>Insert source and/or footnot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B89615-E0FD-45AE-9C8D-263D3000F2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6647" y="850900"/>
            <a:ext cx="10439628" cy="469900"/>
          </a:xfrm>
        </p:spPr>
        <p:txBody>
          <a:bodyPr/>
          <a:lstStyle>
            <a:lvl1pPr marL="0" indent="0">
              <a:buNone/>
              <a:defRPr sz="1600" b="1" i="0">
                <a:solidFill>
                  <a:schemeClr val="accent2"/>
                </a:solidFill>
              </a:defRPr>
            </a:lvl1pPr>
            <a:lvl2pPr marL="457086" indent="0">
              <a:buNone/>
              <a:defRPr/>
            </a:lvl2pPr>
            <a:lvl3pPr marL="914171" indent="0">
              <a:buNone/>
              <a:defRPr/>
            </a:lvl3pPr>
            <a:lvl4pPr marL="1371257" indent="0">
              <a:buNone/>
              <a:defRPr/>
            </a:lvl4pPr>
            <a:lvl5pPr marL="1828343" indent="0">
              <a:buNone/>
              <a:defRPr/>
            </a:lvl5pPr>
          </a:lstStyle>
          <a:p>
            <a:pPr lvl="0"/>
            <a:endParaRPr lang="en-US"/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2FEB4D5D-6E7F-4229-9CB3-E6BD656F9C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813054" y="6414727"/>
            <a:ext cx="649094" cy="365125"/>
          </a:xfrm>
        </p:spPr>
        <p:txBody>
          <a:bodyPr/>
          <a:lstStyle/>
          <a:p>
            <a:fld id="{9D1037FD-3ED2-7F49-A5A0-DA7E06EAD10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6A13B82-6CD2-4910-B913-D099DEA069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851382"/>
      </p:ext>
    </p:extLst>
  </p:cSld>
  <p:clrMapOvr>
    <a:masterClrMapping/>
  </p:clrMapOvr>
  <p:hf hdr="0" ft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B2DF316-7124-284A-B4F1-E3CF7FCF46A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2B09B2A-351A-9944-9A3C-4FCB2EF57C3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1122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D6D75FD-F495-4632-BF15-D50E50A196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10514"/>
            <a:ext cx="10515600" cy="4766452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6"/>
            <a:ext cx="12192000" cy="93867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4BD3ACA-C117-411C-8E74-3B99730687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811921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708D89-33CF-4A1F-8918-F9DE3D28E5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988523"/>
            <a:ext cx="10515709" cy="377048"/>
          </a:xfrm>
        </p:spPr>
        <p:txBody>
          <a:bodyPr/>
          <a:lstStyle>
            <a:lvl1pPr marL="0" indent="0">
              <a:buNone/>
              <a:defRPr sz="1800" b="1"/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0217277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526359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gray background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5C98F7E-3FA1-1346-A67F-6D0B91EF3D6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31397FE-DEA1-6D44-9EA0-08CAF10EDF3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7729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9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image" Target="../media/image20.png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image" Target="../media/image10.emf"/><Relationship Id="rId10" Type="http://schemas.openxmlformats.org/officeDocument/2006/relationships/slideLayout" Target="../slideLayouts/slideLayout36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slideLayout" Target="../slideLayouts/slideLayout69.xml"/><Relationship Id="rId3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64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slideLayout" Target="../slideLayouts/slideLayout68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63.xml"/><Relationship Id="rId29" Type="http://schemas.openxmlformats.org/officeDocument/2006/relationships/tags" Target="../tags/tag22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slideLayout" Target="../slideLayouts/slideLayout67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slideLayout" Target="../slideLayouts/slideLayout66.xml"/><Relationship Id="rId28" Type="http://schemas.openxmlformats.org/officeDocument/2006/relationships/tags" Target="../tags/tag21.xml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31" Type="http://schemas.openxmlformats.org/officeDocument/2006/relationships/image" Target="../media/image24.emf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slideLayout" Target="../slideLayouts/slideLayout65.xml"/><Relationship Id="rId27" Type="http://schemas.openxmlformats.org/officeDocument/2006/relationships/theme" Target="../theme/theme3.xml"/><Relationship Id="rId30" Type="http://schemas.openxmlformats.org/officeDocument/2006/relationships/oleObject" Target="../embeddings/oleObject1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0ADE55B-E9E2-5081-3AB4-4599D01530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402394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15" imgH="416" progId="TCLayout.ActiveDocument.1">
                  <p:embed/>
                </p:oleObj>
              </mc:Choice>
              <mc:Fallback>
                <p:oleObj name="think-cell Slide" r:id="rId29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0ADE55B-E9E2-5081-3AB4-4599D01530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8119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10511"/>
            <a:ext cx="10515600" cy="47664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6D399D-DF42-4738-8BE8-42ECFABB3529}" type="datetimeFigureOut">
              <a:rPr lang="en-US" smtClean="0"/>
              <a:t>7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E90C9E-B749-4631-8622-358BE6396E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96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</p:sldLayoutIdLst>
  <p:txStyles>
    <p:titleStyle>
      <a:lvl1pPr algn="l" defTabSz="914332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rgbClr val="333333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584" indent="-228584" algn="l" defTabSz="91433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2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750" indent="-228584" algn="l" defTabSz="91433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14" indent="-228584" algn="l" defTabSz="91433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080" indent="-228584" algn="l" defTabSz="91433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247" indent="-228584" algn="l" defTabSz="91433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D29EADB0-6432-4667-88FE-A4CCB28357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07665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15" imgH="416" progId="TCLayout.ActiveDocument.1">
                  <p:embed/>
                </p:oleObj>
              </mc:Choice>
              <mc:Fallback>
                <p:oleObj name="think-cell Slide" r:id="rId21" imgW="415" imgH="41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D29EADB0-6432-4667-88FE-A4CCB28357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7204" y="275073"/>
            <a:ext cx="10515600" cy="81192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BC1A315-EC5A-2D1A-F815-9CF40717FC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95"/>
          <a:stretch/>
        </p:blipFill>
        <p:spPr>
          <a:xfrm>
            <a:off x="11462148" y="6421841"/>
            <a:ext cx="491157" cy="268578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033EF0-CED5-9151-CF32-4C004F7A759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3A09FD-3F52-493A-BB53-731E503E7D0B}" type="datetime1">
              <a:rPr lang="en-US" smtClean="0"/>
              <a:t>7/1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4249A0-A8D3-28AC-4A3C-B1D90D578F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FF4C54-DF41-067B-E33A-9F2CE34767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8364" y="6356350"/>
            <a:ext cx="19376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0844AD-CB3B-4EEE-AD68-5C3258E142BD}" type="slidenum">
              <a:rPr lang="en-US" smtClean="0"/>
              <a:t>‹#›</a:t>
            </a:fld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7D0F530-1D95-9A45-3FE9-7B4989C24178}"/>
              </a:ext>
            </a:extLst>
          </p:cNvPr>
          <p:cNvGrpSpPr/>
          <p:nvPr userDrawn="1"/>
        </p:nvGrpSpPr>
        <p:grpSpPr>
          <a:xfrm>
            <a:off x="10992399" y="6356350"/>
            <a:ext cx="395486" cy="393276"/>
            <a:chOff x="8387674" y="910742"/>
            <a:chExt cx="661482" cy="657785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DF99E497-041E-2886-9E3B-A7F9C2651918}"/>
                </a:ext>
              </a:extLst>
            </p:cNvPr>
            <p:cNvSpPr/>
            <p:nvPr userDrawn="1"/>
          </p:nvSpPr>
          <p:spPr>
            <a:xfrm>
              <a:off x="8387675" y="913503"/>
              <a:ext cx="661481" cy="652237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B050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7" name="Picture 6" descr="iron-mountain Logo PNG Vector (SVG) Free Download">
              <a:extLst>
                <a:ext uri="{FF2B5EF4-FFF2-40B4-BE49-F238E27FC236}">
                  <a16:creationId xmlns:a16="http://schemas.microsoft.com/office/drawing/2014/main" id="{B9E41B4B-FA3A-8725-1BF0-D55BC438278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60" t="-12566" r="67858" b="1"/>
            <a:stretch/>
          </p:blipFill>
          <p:spPr bwMode="auto">
            <a:xfrm>
              <a:off x="8387674" y="910742"/>
              <a:ext cx="661482" cy="652237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46624F21-68FB-C552-6032-61CF57CCBFE7}"/>
                </a:ext>
              </a:extLst>
            </p:cNvPr>
            <p:cNvSpPr/>
            <p:nvPr userDrawn="1"/>
          </p:nvSpPr>
          <p:spPr>
            <a:xfrm>
              <a:off x="8387675" y="916290"/>
              <a:ext cx="661481" cy="652237"/>
            </a:xfrm>
            <a:prstGeom prst="ellipse">
              <a:avLst/>
            </a:prstGeom>
            <a:noFill/>
            <a:ln w="19050">
              <a:solidFill>
                <a:srgbClr val="5DABCE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custDataLst>
      <p:tags r:id="rId19"/>
    </p:custDataLst>
    <p:extLst>
      <p:ext uri="{BB962C8B-B14F-4D97-AF65-F5344CB8AC3E}">
        <p14:creationId xmlns:p14="http://schemas.microsoft.com/office/powerpoint/2010/main" val="267245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</p:sldLayoutIdLst>
  <p:hf hdr="0" ftr="0" dt="0"/>
  <p:txStyles>
    <p:titleStyle>
      <a:lvl1pPr algn="l" defTabSz="914286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rgbClr val="333333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28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rgbClr val="333333"/>
          </a:solidFill>
          <a:latin typeface="+mn-lt"/>
          <a:ea typeface="+mn-ea"/>
          <a:cs typeface="Arial" panose="020B0604020202020204" pitchFamily="34" charset="0"/>
        </a:defRPr>
      </a:lvl1pPr>
      <a:lvl2pPr marL="685718" indent="-228573" algn="l" defTabSz="91428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rgbClr val="333333"/>
          </a:solidFill>
          <a:latin typeface="+mn-lt"/>
          <a:ea typeface="+mn-ea"/>
          <a:cs typeface="Arial" panose="020B0604020202020204" pitchFamily="34" charset="0"/>
        </a:defRPr>
      </a:lvl2pPr>
      <a:lvl3pPr marL="1142869" indent="-228584" algn="l" defTabSz="91428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ꟷ"/>
        <a:defRPr sz="1800" kern="1200">
          <a:solidFill>
            <a:srgbClr val="333333"/>
          </a:solidFill>
          <a:latin typeface="+mn-lt"/>
          <a:ea typeface="+mn-ea"/>
          <a:cs typeface="Arial" panose="020B0604020202020204" pitchFamily="34" charset="0"/>
        </a:defRPr>
      </a:lvl3pPr>
      <a:lvl4pPr marL="1600000" indent="-228573" algn="l" defTabSz="91428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143" indent="-228573" algn="l" defTabSz="91428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286" indent="-228573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30" indent="-228573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73" indent="-228573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18" indent="-228573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3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6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0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73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18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58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00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43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A571EE8-194F-49A4-AE2B-911E6FE2E1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227826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25" imgH="424" progId="TCLayout.ActiveDocument.1">
                  <p:embed/>
                </p:oleObj>
              </mc:Choice>
              <mc:Fallback>
                <p:oleObj name="think-cell Slide" r:id="rId30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A571EE8-194F-49A4-AE2B-911E6FE2E1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7204" y="275073"/>
            <a:ext cx="10515600" cy="81192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40629"/>
            <a:ext cx="10515600" cy="47664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228573"/>
            <a:fld id="{7DA7ED53-A5FA-8D4F-ADCE-5DCCB6311998}" type="datetimeFigureOut">
              <a:rPr lang="en-US" smtClean="0">
                <a:solidFill>
                  <a:srgbClr val="121212">
                    <a:tint val="75000"/>
                  </a:srgbClr>
                </a:solidFill>
              </a:rPr>
              <a:pPr defTabSz="228573"/>
              <a:t>7/13/2024</a:t>
            </a:fld>
            <a:endParaRPr lang="en-US">
              <a:solidFill>
                <a:srgbClr val="121212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228573"/>
            <a:endParaRPr lang="en-US">
              <a:solidFill>
                <a:srgbClr val="121212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228573"/>
            <a:fld id="{9D1037FD-3ED2-7F49-A5A0-DA7E06EAD106}" type="slidenum">
              <a:rPr lang="en-US" smtClean="0">
                <a:solidFill>
                  <a:srgbClr val="121212">
                    <a:tint val="75000"/>
                  </a:srgbClr>
                </a:solidFill>
              </a:rPr>
              <a:pPr defTabSz="228573"/>
              <a:t>‹#›</a:t>
            </a:fld>
            <a:endParaRPr lang="en-US">
              <a:solidFill>
                <a:srgbClr val="121212">
                  <a:tint val="75000"/>
                </a:srgbClr>
              </a:solidFill>
            </a:endParaRPr>
          </a:p>
        </p:txBody>
      </p:sp>
    </p:spTree>
    <p:custDataLst>
      <p:tags r:id="rId28"/>
    </p:custDataLst>
    <p:extLst>
      <p:ext uri="{BB962C8B-B14F-4D97-AF65-F5344CB8AC3E}">
        <p14:creationId xmlns:p14="http://schemas.microsoft.com/office/powerpoint/2010/main" val="1408646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  <p:sldLayoutId id="2147483726" r:id="rId18"/>
    <p:sldLayoutId id="2147483727" r:id="rId19"/>
    <p:sldLayoutId id="2147483728" r:id="rId20"/>
    <p:sldLayoutId id="2147483729" r:id="rId21"/>
    <p:sldLayoutId id="2147483730" r:id="rId22"/>
    <p:sldLayoutId id="2147483731" r:id="rId23"/>
    <p:sldLayoutId id="2147483732" r:id="rId24"/>
    <p:sldLayoutId id="2147483733" r:id="rId25"/>
    <p:sldLayoutId id="2147483734" r:id="rId26"/>
  </p:sldLayoutIdLst>
  <p:txStyles>
    <p:titleStyle>
      <a:lvl1pPr algn="l" defTabSz="914286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rgbClr val="333333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28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718" indent="-228573" algn="l" defTabSz="91428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869" indent="-228584" algn="l" defTabSz="91428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ꟷ"/>
        <a:defRPr sz="20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000" indent="-228573" algn="l" defTabSz="91428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143" indent="-228573" algn="l" defTabSz="91428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286" indent="-228573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30" indent="-228573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73" indent="-228573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18" indent="-228573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3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6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0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73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18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58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00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43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9C6F130-1CAE-C78F-4067-8AE85B43F4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598072"/>
            <a:ext cx="10515600" cy="1500187"/>
          </a:xfrm>
        </p:spPr>
        <p:txBody>
          <a:bodyPr anchor="b">
            <a:normAutofit/>
          </a:bodyPr>
          <a:lstStyle/>
          <a:p>
            <a:r>
              <a:rPr lang="en-US"/>
              <a:t>Network Config Optimization</a:t>
            </a:r>
            <a:endParaRPr lang="en-US" b="1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7B1F120-4CE3-FED5-8EC8-108C52050C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3319127"/>
            <a:ext cx="10515600" cy="1741972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4000" err="1">
                <a:latin typeface="Arial"/>
                <a:cs typeface="Arial"/>
              </a:rPr>
              <a:t>Mingjun</a:t>
            </a:r>
            <a:r>
              <a:rPr lang="en-US" sz="4000">
                <a:latin typeface="Arial"/>
                <a:cs typeface="Arial"/>
              </a:rPr>
              <a:t> Wang</a:t>
            </a:r>
            <a:endParaRPr lang="en-US" sz="4000"/>
          </a:p>
        </p:txBody>
      </p:sp>
    </p:spTree>
    <p:extLst>
      <p:ext uri="{BB962C8B-B14F-4D97-AF65-F5344CB8AC3E}">
        <p14:creationId xmlns:p14="http://schemas.microsoft.com/office/powerpoint/2010/main" val="4662213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5">
            <a:extLst>
              <a:ext uri="{FF2B5EF4-FFF2-40B4-BE49-F238E27FC236}">
                <a16:creationId xmlns:a16="http://schemas.microsoft.com/office/drawing/2014/main" id="{7BE36E37-D3E0-2964-A725-6DBCB58FA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043" y="238129"/>
            <a:ext cx="11527343" cy="811921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Model Specification</a:t>
            </a:r>
            <a:endParaRPr lang="en-US" sz="3200" b="1">
              <a:latin typeface="Arial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F04B734-ED98-04A1-FC63-3D1FBD3846AD}"/>
              </a:ext>
            </a:extLst>
          </p:cNvPr>
          <p:cNvSpPr txBox="1"/>
          <p:nvPr/>
        </p:nvSpPr>
        <p:spPr>
          <a:xfrm>
            <a:off x="947057" y="1317171"/>
            <a:ext cx="4865913" cy="415498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>
                <a:latin typeface="Calibri"/>
                <a:cs typeface="Calibri"/>
              </a:rPr>
              <a:t>Model Design</a:t>
            </a:r>
            <a:endParaRPr lang="en-US"/>
          </a:p>
          <a:p>
            <a:pPr marL="285750" indent="-285750">
              <a:buFont typeface="Arial"/>
              <a:buChar char="•"/>
            </a:pPr>
            <a:r>
              <a:rPr lang="en-US" sz="2000">
                <a:latin typeface="Calibri"/>
                <a:cs typeface="Calibri"/>
              </a:rPr>
              <a:t>State: Bandwidth/cost for each </a:t>
            </a:r>
            <a:r>
              <a:rPr lang="en-US" sz="2000" err="1">
                <a:latin typeface="Calibri"/>
                <a:cs typeface="Calibri"/>
              </a:rPr>
              <a:t>src</a:t>
            </a:r>
            <a:r>
              <a:rPr lang="en-US" sz="2000">
                <a:latin typeface="Calibri"/>
                <a:cs typeface="Calibri"/>
              </a:rPr>
              <a:t> and </a:t>
            </a:r>
            <a:r>
              <a:rPr lang="en-US" sz="2000" err="1">
                <a:latin typeface="Calibri"/>
                <a:cs typeface="Calibri"/>
              </a:rPr>
              <a:t>dest</a:t>
            </a:r>
            <a:r>
              <a:rPr lang="en-US" sz="2000">
                <a:latin typeface="Calibri"/>
                <a:cs typeface="Calibri"/>
              </a:rPr>
              <a:t>.</a:t>
            </a:r>
          </a:p>
          <a:p>
            <a:pPr marL="742315" lvl="1" indent="-285750">
              <a:buFont typeface="Arial"/>
              <a:buChar char="•"/>
            </a:pPr>
            <a:r>
              <a:rPr lang="en-US" sz="2000">
                <a:latin typeface="Calibri"/>
                <a:cs typeface="Calibri"/>
              </a:rPr>
              <a:t> Dimension: 325</a:t>
            </a:r>
            <a:endParaRPr lang="en-US" sz="2000"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sz="2000">
                <a:latin typeface="Calibri"/>
                <a:cs typeface="Calibri"/>
              </a:rPr>
              <a:t>Action: </a:t>
            </a:r>
            <a:r>
              <a:rPr lang="en-US" sz="2000">
                <a:ea typeface="+mn-lt"/>
                <a:cs typeface="+mn-lt"/>
              </a:rPr>
              <a:t>Bandwidth for each link.</a:t>
            </a:r>
            <a:endParaRPr lang="en-US" sz="2000">
              <a:latin typeface="Calibri"/>
              <a:cs typeface="Calibri"/>
            </a:endParaRPr>
          </a:p>
          <a:p>
            <a:pPr marL="742315" lvl="1" indent="-285750">
              <a:buFont typeface="Arial"/>
              <a:buChar char="•"/>
            </a:pPr>
            <a:r>
              <a:rPr lang="en-US" sz="2000">
                <a:ea typeface="+mn-lt"/>
                <a:cs typeface="+mn-lt"/>
              </a:rPr>
              <a:t>Dimension: 62</a:t>
            </a:r>
            <a:endParaRPr lang="en-US" sz="2000">
              <a:latin typeface="Calibri"/>
              <a:cs typeface="Calibri"/>
            </a:endParaRPr>
          </a:p>
          <a:p>
            <a:pPr marL="342900" indent="-342900">
              <a:buFont typeface="Arial"/>
              <a:buChar char="•"/>
            </a:pPr>
            <a:r>
              <a:rPr lang="en-US" sz="2000">
                <a:latin typeface="Calibri"/>
                <a:cs typeface="Calibri"/>
              </a:rPr>
              <a:t>Reward: Negative total number of hops for each </a:t>
            </a:r>
            <a:r>
              <a:rPr lang="en-US" sz="2000" err="1">
                <a:latin typeface="Calibri"/>
                <a:cs typeface="Calibri"/>
              </a:rPr>
              <a:t>src</a:t>
            </a:r>
            <a:r>
              <a:rPr lang="en-US" sz="2000">
                <a:latin typeface="Calibri"/>
                <a:cs typeface="Calibri"/>
              </a:rPr>
              <a:t> and </a:t>
            </a:r>
            <a:r>
              <a:rPr lang="en-US" sz="2000" err="1">
                <a:latin typeface="Calibri"/>
                <a:cs typeface="Calibri"/>
              </a:rPr>
              <a:t>dest</a:t>
            </a:r>
            <a:r>
              <a:rPr lang="en-US" sz="2000">
                <a:latin typeface="Calibri"/>
                <a:cs typeface="Calibri"/>
              </a:rPr>
              <a:t>.</a:t>
            </a:r>
            <a:endParaRPr lang="en-US" sz="2000"/>
          </a:p>
          <a:p>
            <a:pPr marL="342900" indent="-342900">
              <a:buFont typeface="Arial"/>
              <a:buChar char="•"/>
            </a:pPr>
            <a:endParaRPr lang="en-US" sz="2000">
              <a:latin typeface="Calibri"/>
              <a:cs typeface="Calibri"/>
            </a:endParaRPr>
          </a:p>
          <a:p>
            <a:pPr marL="342900" indent="-342900">
              <a:buFont typeface="Arial"/>
              <a:buChar char="•"/>
            </a:pPr>
            <a:r>
              <a:rPr lang="en-US" sz="1400">
                <a:latin typeface="Calibri"/>
                <a:cs typeface="Calibri"/>
              </a:rPr>
              <a:t>Note: state, action and reward are normalized.</a:t>
            </a:r>
            <a:endParaRPr lang="en-US" sz="1400"/>
          </a:p>
          <a:p>
            <a:pPr marL="342900" indent="-342900">
              <a:buFont typeface="Arial"/>
              <a:buChar char="•"/>
            </a:pPr>
            <a:endParaRPr lang="en-US" sz="2400">
              <a:latin typeface="Calibri"/>
              <a:cs typeface="Calibri"/>
            </a:endParaRPr>
          </a:p>
          <a:p>
            <a:pPr marL="742315" lvl="1" indent="-285750">
              <a:buFont typeface="Arial"/>
              <a:buChar char="•"/>
            </a:pPr>
            <a:endParaRPr lang="en-US" sz="2400">
              <a:latin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>
              <a:latin typeface="Calibri"/>
              <a:cs typeface="Calibri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68A7039-FD3F-B839-4804-93B59DBF3027}"/>
              </a:ext>
            </a:extLst>
          </p:cNvPr>
          <p:cNvSpPr txBox="1"/>
          <p:nvPr/>
        </p:nvSpPr>
        <p:spPr>
          <a:xfrm>
            <a:off x="6379028" y="1317171"/>
            <a:ext cx="4865913" cy="449353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>
                <a:latin typeface="Calibri"/>
                <a:cs typeface="Calibri"/>
              </a:rPr>
              <a:t>Hyper Parameters</a:t>
            </a:r>
            <a:endParaRPr lang="en-US"/>
          </a:p>
          <a:p>
            <a:pPr marL="285750" indent="-285750">
              <a:buFont typeface="Arial"/>
              <a:buChar char="•"/>
            </a:pPr>
            <a:r>
              <a:rPr lang="en-US" sz="2000">
                <a:cs typeface="Calibri"/>
              </a:rPr>
              <a:t>Lr: 0.01</a:t>
            </a:r>
          </a:p>
          <a:p>
            <a:pPr marL="285750" indent="-285750">
              <a:buFont typeface="Arial"/>
              <a:buChar char="•"/>
            </a:pPr>
            <a:r>
              <a:rPr lang="en-US" sz="2000">
                <a:latin typeface="Calibri"/>
                <a:cs typeface="Calibri"/>
              </a:rPr>
              <a:t>Episode length: 15</a:t>
            </a:r>
          </a:p>
          <a:p>
            <a:pPr marL="285750" indent="-285750">
              <a:buFont typeface="Arial"/>
              <a:buChar char="•"/>
            </a:pPr>
            <a:r>
              <a:rPr lang="en-US" sz="2000">
                <a:latin typeface="Calibri"/>
                <a:cs typeface="Calibri"/>
              </a:rPr>
              <a:t>Number of episode: 100</a:t>
            </a:r>
          </a:p>
          <a:p>
            <a:pPr marL="285750" indent="-285750">
              <a:buFont typeface="Arial"/>
              <a:buChar char="•"/>
            </a:pPr>
            <a:r>
              <a:rPr lang="en-US" sz="2000">
                <a:latin typeface="Calibri"/>
                <a:cs typeface="Calibri"/>
              </a:rPr>
              <a:t>Batch size: 30</a:t>
            </a:r>
          </a:p>
          <a:p>
            <a:pPr marL="285750" indent="-285750">
              <a:buFont typeface="Arial"/>
              <a:buChar char="•"/>
            </a:pPr>
            <a:r>
              <a:rPr lang="en-US" sz="2000">
                <a:latin typeface="Calibri"/>
                <a:cs typeface="Calibri"/>
              </a:rPr>
              <a:t>Buffer size: 1,000</a:t>
            </a:r>
          </a:p>
          <a:p>
            <a:pPr marL="285750" indent="-285750">
              <a:buFont typeface="Arial"/>
              <a:buChar char="•"/>
            </a:pPr>
            <a:r>
              <a:rPr lang="en-US" sz="2000">
                <a:latin typeface="Calibri"/>
                <a:cs typeface="Calibri"/>
              </a:rPr>
              <a:t>Number of hidden layers: 2(200,100)</a:t>
            </a:r>
          </a:p>
          <a:p>
            <a:pPr marL="285750" indent="-285750">
              <a:buFont typeface="Arial"/>
              <a:buChar char="•"/>
            </a:pPr>
            <a:r>
              <a:rPr lang="en-US" sz="2000">
                <a:latin typeface="Calibri"/>
                <a:cs typeface="Calibri"/>
              </a:rPr>
              <a:t>Number of GPUs: 1</a:t>
            </a:r>
          </a:p>
          <a:p>
            <a:pPr marL="285750" indent="-285750">
              <a:buFont typeface="Arial"/>
              <a:buChar char="•"/>
            </a:pPr>
            <a:endParaRPr lang="en-US" sz="2000">
              <a:latin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sz="1600">
                <a:latin typeface="Calibri"/>
                <a:cs typeface="Calibri"/>
              </a:rPr>
              <a:t>Note: the shortest runtime: 3 days.</a:t>
            </a:r>
            <a:endParaRPr lang="en-US" sz="1600"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 sz="2000">
              <a:latin typeface="Calibri"/>
              <a:cs typeface="Calibri"/>
            </a:endParaRPr>
          </a:p>
          <a:p>
            <a:pPr marL="342900" indent="-342900">
              <a:buFont typeface="Arial"/>
              <a:buChar char="•"/>
            </a:pPr>
            <a:endParaRPr lang="en-US" sz="2400">
              <a:latin typeface="Calibri"/>
              <a:cs typeface="Calibri"/>
            </a:endParaRPr>
          </a:p>
          <a:p>
            <a:pPr marL="742315" lvl="1" indent="-285750">
              <a:buFont typeface="Arial"/>
              <a:buChar char="•"/>
            </a:pPr>
            <a:endParaRPr lang="en-US" sz="2400">
              <a:latin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446631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5">
            <a:extLst>
              <a:ext uri="{FF2B5EF4-FFF2-40B4-BE49-F238E27FC236}">
                <a16:creationId xmlns:a16="http://schemas.microsoft.com/office/drawing/2014/main" id="{7BE36E37-D3E0-2964-A725-6DBCB58FA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043" y="238129"/>
            <a:ext cx="11527343" cy="811921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Model Results</a:t>
            </a:r>
            <a:endParaRPr lang="en-US" sz="3200" b="1">
              <a:latin typeface="Arial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F04B734-ED98-04A1-FC63-3D1FBD3846AD}"/>
              </a:ext>
            </a:extLst>
          </p:cNvPr>
          <p:cNvSpPr txBox="1"/>
          <p:nvPr/>
        </p:nvSpPr>
        <p:spPr>
          <a:xfrm>
            <a:off x="6259286" y="1426028"/>
            <a:ext cx="4865913" cy="424731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2400">
                <a:latin typeface="Calibri"/>
                <a:cs typeface="Calibri"/>
              </a:rPr>
              <a:t>Everage hops for each </a:t>
            </a:r>
            <a:r>
              <a:rPr lang="en-US" sz="2400" err="1">
                <a:latin typeface="Calibri"/>
                <a:cs typeface="Calibri"/>
              </a:rPr>
              <a:t>src</a:t>
            </a:r>
            <a:r>
              <a:rPr lang="en-US" sz="2400">
                <a:latin typeface="Calibri"/>
                <a:cs typeface="Calibri"/>
              </a:rPr>
              <a:t>/</a:t>
            </a:r>
            <a:r>
              <a:rPr lang="en-US" sz="2400" err="1">
                <a:latin typeface="Calibri"/>
                <a:cs typeface="Calibri"/>
              </a:rPr>
              <a:t>dest</a:t>
            </a:r>
          </a:p>
          <a:p>
            <a:pPr marL="742315" lvl="1" indent="-285750">
              <a:buFont typeface="Arial"/>
              <a:buChar char="•"/>
            </a:pPr>
            <a:endParaRPr lang="en-US" sz="2400">
              <a:latin typeface="Calibri"/>
              <a:cs typeface="Calibri"/>
            </a:endParaRPr>
          </a:p>
          <a:p>
            <a:pPr marL="742315" lvl="1" indent="-285750">
              <a:buFont typeface="Arial"/>
              <a:buChar char="•"/>
            </a:pPr>
            <a:r>
              <a:rPr lang="en-US" sz="2400">
                <a:latin typeface="Calibri"/>
                <a:cs typeface="Calibri"/>
              </a:rPr>
              <a:t>From RL: 4.5</a:t>
            </a:r>
          </a:p>
          <a:p>
            <a:pPr marL="742315" lvl="1" indent="-285750">
              <a:buFont typeface="Arial"/>
              <a:buChar char="•"/>
            </a:pPr>
            <a:endParaRPr lang="en-US" sz="2400">
              <a:cs typeface="Calibri"/>
            </a:endParaRPr>
          </a:p>
          <a:p>
            <a:pPr marL="742315" lvl="1" indent="-285750">
              <a:buFont typeface="Arial"/>
              <a:buChar char="•"/>
            </a:pPr>
            <a:r>
              <a:rPr lang="en-US" sz="2400">
                <a:cs typeface="Calibri"/>
              </a:rPr>
              <a:t>Random: 5.5</a:t>
            </a:r>
          </a:p>
          <a:p>
            <a:pPr marL="742315" lvl="1" indent="-285750">
              <a:buFont typeface="Arial"/>
              <a:buChar char="•"/>
            </a:pPr>
            <a:endParaRPr lang="en-US" sz="2400">
              <a:cs typeface="Calibri"/>
            </a:endParaRPr>
          </a:p>
          <a:p>
            <a:pPr marL="742315" lvl="1" indent="-285750">
              <a:buFont typeface="Arial"/>
              <a:buChar char="•"/>
            </a:pPr>
            <a:r>
              <a:rPr lang="en-US" sz="2400">
                <a:cs typeface="Calibri"/>
              </a:rPr>
              <a:t>Engineers?</a:t>
            </a:r>
          </a:p>
          <a:p>
            <a:pPr marL="285750" indent="-285750">
              <a:buFont typeface="Arial"/>
              <a:buChar char="•"/>
            </a:pPr>
            <a:endParaRPr lang="en-US" sz="2400"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 sz="2400">
              <a:cs typeface="Calibri"/>
            </a:endParaRPr>
          </a:p>
          <a:p>
            <a:pPr marL="456565" lvl="1"/>
            <a:br>
              <a:rPr lang="en-US"/>
            </a:br>
            <a:endParaRPr lang="en-US">
              <a:cs typeface="Calibri" panose="020F0502020204030204"/>
            </a:endParaRPr>
          </a:p>
          <a:p>
            <a:pPr marL="285750" indent="-285750">
              <a:buFont typeface="Arial"/>
              <a:buChar char="•"/>
            </a:pPr>
            <a:endParaRPr lang="en-US">
              <a:latin typeface="Calibri"/>
              <a:cs typeface="Calibri"/>
            </a:endParaRPr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id="{DF31F7CE-FA76-2709-947F-A489A24A45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7252" y="1439389"/>
            <a:ext cx="5159827" cy="405447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D45FD36-C5D4-54EB-6BD1-BBBCBFEFD827}"/>
              </a:ext>
            </a:extLst>
          </p:cNvPr>
          <p:cNvSpPr txBox="1"/>
          <p:nvPr/>
        </p:nvSpPr>
        <p:spPr>
          <a:xfrm>
            <a:off x="2598325" y="5369749"/>
            <a:ext cx="2743200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>
                <a:cs typeface="Calibri"/>
              </a:rPr>
              <a:t>Number of Episod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F7EA732-6F9E-F70F-DAA9-41D52694E1F0}"/>
              </a:ext>
            </a:extLst>
          </p:cNvPr>
          <p:cNvSpPr txBox="1"/>
          <p:nvPr/>
        </p:nvSpPr>
        <p:spPr>
          <a:xfrm>
            <a:off x="86009" y="2856493"/>
            <a:ext cx="957943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>
                <a:cs typeface="Calibri"/>
              </a:rPr>
              <a:t>Return for Each Episode</a:t>
            </a:r>
          </a:p>
        </p:txBody>
      </p:sp>
    </p:spTree>
    <p:extLst>
      <p:ext uri="{BB962C8B-B14F-4D97-AF65-F5344CB8AC3E}">
        <p14:creationId xmlns:p14="http://schemas.microsoft.com/office/powerpoint/2010/main" val="31162245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5">
            <a:extLst>
              <a:ext uri="{FF2B5EF4-FFF2-40B4-BE49-F238E27FC236}">
                <a16:creationId xmlns:a16="http://schemas.microsoft.com/office/drawing/2014/main" id="{7BE36E37-D3E0-2964-A725-6DBCB58FA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043" y="238129"/>
            <a:ext cx="11527343" cy="811921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Conclusion/Future Improvement</a:t>
            </a:r>
            <a:endParaRPr lang="en-US" sz="3200" b="1">
              <a:latin typeface="Arial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F04B734-ED98-04A1-FC63-3D1FBD3846AD}"/>
              </a:ext>
            </a:extLst>
          </p:cNvPr>
          <p:cNvSpPr txBox="1"/>
          <p:nvPr/>
        </p:nvSpPr>
        <p:spPr>
          <a:xfrm>
            <a:off x="947057" y="1317171"/>
            <a:ext cx="7010398" cy="406265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endParaRPr lang="en-US" sz="2400">
              <a:latin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sz="2400">
                <a:latin typeface="Calibri"/>
                <a:cs typeface="Calibri"/>
              </a:rPr>
              <a:t>RL agent can offer a better configuration!</a:t>
            </a:r>
          </a:p>
          <a:p>
            <a:pPr marL="285750" indent="-285750">
              <a:buFont typeface="Arial"/>
              <a:buChar char="•"/>
            </a:pPr>
            <a:endParaRPr lang="en-US" sz="2400">
              <a:latin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sz="2400">
                <a:latin typeface="Calibri"/>
                <a:cs typeface="Calibri"/>
              </a:rPr>
              <a:t>Use a stochastic policy.</a:t>
            </a:r>
          </a:p>
          <a:p>
            <a:pPr marL="285750" indent="-285750">
              <a:buFont typeface="Arial"/>
              <a:buChar char="•"/>
            </a:pPr>
            <a:r>
              <a:rPr lang="en-US" sz="2400">
                <a:latin typeface="Calibri"/>
                <a:cs typeface="Calibri"/>
              </a:rPr>
              <a:t>Remove adjacent </a:t>
            </a:r>
            <a:r>
              <a:rPr lang="en-US" sz="2400" err="1">
                <a:latin typeface="Calibri"/>
                <a:cs typeface="Calibri"/>
              </a:rPr>
              <a:t>src</a:t>
            </a:r>
            <a:r>
              <a:rPr lang="en-US" sz="2400">
                <a:latin typeface="Calibri"/>
                <a:cs typeface="Calibri"/>
              </a:rPr>
              <a:t>/</a:t>
            </a:r>
            <a:r>
              <a:rPr lang="en-US" sz="2400" err="1">
                <a:latin typeface="Calibri"/>
                <a:cs typeface="Calibri"/>
              </a:rPr>
              <a:t>dest</a:t>
            </a:r>
            <a:r>
              <a:rPr lang="en-US" sz="2400">
                <a:latin typeface="Calibri"/>
                <a:cs typeface="Calibri"/>
              </a:rPr>
              <a:t>.</a:t>
            </a:r>
          </a:p>
          <a:p>
            <a:pPr marL="285750" indent="-285750">
              <a:buFont typeface="Arial"/>
              <a:buChar char="•"/>
            </a:pPr>
            <a:r>
              <a:rPr lang="en-US" sz="2400">
                <a:latin typeface="Calibri"/>
                <a:cs typeface="Calibri"/>
              </a:rPr>
              <a:t>Use 2d array rather than 1d as state.</a:t>
            </a:r>
          </a:p>
          <a:p>
            <a:pPr marL="285750" indent="-285750">
              <a:buFont typeface="Arial"/>
              <a:buChar char="•"/>
            </a:pPr>
            <a:r>
              <a:rPr lang="en-US" sz="2400">
                <a:latin typeface="Calibri"/>
                <a:cs typeface="Calibri"/>
              </a:rPr>
              <a:t>Graph Neural Network.</a:t>
            </a:r>
          </a:p>
          <a:p>
            <a:pPr marL="285750" indent="-285750">
              <a:buFont typeface="Arial"/>
              <a:buChar char="•"/>
            </a:pPr>
            <a:endParaRPr lang="en-US" sz="2400">
              <a:latin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 sz="2400">
              <a:latin typeface="Calibri"/>
              <a:cs typeface="Calibri"/>
            </a:endParaRPr>
          </a:p>
          <a:p>
            <a:pPr marL="742315" lvl="1" indent="-285750">
              <a:buFont typeface="Arial"/>
              <a:buChar char="•"/>
            </a:pPr>
            <a:endParaRPr lang="en-US" sz="2400">
              <a:latin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146505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AFCCCFC-DCDF-7AB4-E460-C874AFD0E3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044" y="238129"/>
            <a:ext cx="11216058" cy="811921"/>
          </a:xfrm>
        </p:spPr>
        <p:txBody>
          <a:bodyPr/>
          <a:lstStyle/>
          <a:p>
            <a:r>
              <a:rPr lang="en-US" sz="3600">
                <a:latin typeface="Arial"/>
                <a:cs typeface="Arial"/>
              </a:rPr>
              <a:t>Agend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64F8EA5-7FA7-82C1-321C-89002159ECFC}"/>
              </a:ext>
            </a:extLst>
          </p:cNvPr>
          <p:cNvSpPr txBox="1"/>
          <p:nvPr/>
        </p:nvSpPr>
        <p:spPr>
          <a:xfrm>
            <a:off x="663222" y="1354667"/>
            <a:ext cx="4916310" cy="378565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2400">
                <a:cs typeface="Calibri"/>
              </a:rPr>
              <a:t>Problem Statement</a:t>
            </a:r>
          </a:p>
          <a:p>
            <a:pPr marL="342900" indent="-342900">
              <a:buFont typeface="Arial"/>
              <a:buChar char="•"/>
            </a:pPr>
            <a:endParaRPr lang="en-US" sz="2400">
              <a:cs typeface="Calibri"/>
            </a:endParaRPr>
          </a:p>
          <a:p>
            <a:pPr marL="342900" indent="-342900">
              <a:buFont typeface="Arial"/>
              <a:buChar char="•"/>
            </a:pPr>
            <a:r>
              <a:rPr lang="en-US" sz="2400">
                <a:cs typeface="Calibri"/>
              </a:rPr>
              <a:t>Proposal</a:t>
            </a:r>
          </a:p>
          <a:p>
            <a:pPr marL="342900" indent="-342900">
              <a:buFont typeface="Arial"/>
              <a:buChar char="•"/>
            </a:pPr>
            <a:endParaRPr lang="en-US" sz="2400">
              <a:cs typeface="Calibri"/>
            </a:endParaRPr>
          </a:p>
          <a:p>
            <a:pPr marL="342900" indent="-342900">
              <a:buFont typeface="Arial"/>
              <a:buChar char="•"/>
            </a:pPr>
            <a:r>
              <a:rPr lang="en-US" sz="2400">
                <a:cs typeface="Calibri"/>
              </a:rPr>
              <a:t>Model Detail</a:t>
            </a:r>
          </a:p>
          <a:p>
            <a:pPr marL="342900" indent="-342900">
              <a:buFont typeface="Arial"/>
              <a:buChar char="•"/>
            </a:pPr>
            <a:endParaRPr lang="en-US" sz="2400">
              <a:cs typeface="Calibri"/>
            </a:endParaRPr>
          </a:p>
          <a:p>
            <a:pPr marL="342900" indent="-342900">
              <a:buFont typeface="Arial"/>
              <a:buChar char="•"/>
            </a:pPr>
            <a:r>
              <a:rPr lang="en-US" sz="2400">
                <a:cs typeface="Calibri"/>
              </a:rPr>
              <a:t>Result</a:t>
            </a:r>
          </a:p>
          <a:p>
            <a:pPr marL="342900" indent="-342900">
              <a:buFont typeface="Arial"/>
              <a:buChar char="•"/>
            </a:pPr>
            <a:endParaRPr lang="en-US" sz="2400">
              <a:cs typeface="Calibri"/>
            </a:endParaRPr>
          </a:p>
          <a:p>
            <a:pPr marL="342900" indent="-342900">
              <a:buFont typeface="Arial"/>
              <a:buChar char="•"/>
            </a:pPr>
            <a:r>
              <a:rPr lang="en-US" sz="2400">
                <a:cs typeface="Calibri"/>
              </a:rPr>
              <a:t>Conclusion</a:t>
            </a:r>
          </a:p>
          <a:p>
            <a:pPr marL="342900" indent="-342900">
              <a:buFont typeface="Arial"/>
              <a:buChar char="•"/>
            </a:pPr>
            <a:endParaRPr lang="en-US" sz="240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103741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F167FB72-EEEC-8782-94E6-72C710A797B9}"/>
              </a:ext>
            </a:extLst>
          </p:cNvPr>
          <p:cNvSpPr txBox="1">
            <a:spLocks/>
          </p:cNvSpPr>
          <p:nvPr/>
        </p:nvSpPr>
        <p:spPr>
          <a:xfrm>
            <a:off x="496044" y="1319212"/>
            <a:ext cx="6273526" cy="4966916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457184" indent="-457184" algn="l" defTabSz="182873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4400" kern="1200">
                <a:solidFill>
                  <a:srgbClr val="33333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71550" indent="-457184" algn="l" defTabSz="182873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3600" kern="1200">
                <a:solidFill>
                  <a:srgbClr val="33333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285914" indent="-457184" algn="l" defTabSz="182873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800" kern="1200">
                <a:solidFill>
                  <a:srgbClr val="33333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3200280" indent="-457184" algn="l" defTabSz="182873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400" kern="1200">
                <a:solidFill>
                  <a:srgbClr val="33333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114649" indent="-457184" algn="l" defTabSz="182873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400" kern="1200">
                <a:solidFill>
                  <a:srgbClr val="33333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5029012" indent="-457184" algn="l" defTabSz="18287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78" indent="-457184" algn="l" defTabSz="18287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744" indent="-457184" algn="l" defTabSz="18287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110" indent="-457184" algn="l" defTabSz="18287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0360" indent="-340360">
              <a:spcAft>
                <a:spcPts val="300"/>
              </a:spcAft>
            </a:pPr>
            <a:r>
              <a:rPr lang="en-US" sz="24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How can we help network engineers to search out the optimized configuration using an intelligent way.</a:t>
            </a:r>
            <a:endParaRPr lang="en-US" sz="240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0" indent="0">
              <a:spcAft>
                <a:spcPts val="300"/>
              </a:spcAft>
              <a:buNone/>
            </a:pPr>
            <a:endParaRPr lang="en-US" sz="240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0360" indent="-340360">
              <a:spcAft>
                <a:spcPts val="300"/>
              </a:spcAft>
            </a:pPr>
            <a:r>
              <a:rPr lang="en-US" sz="24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Least possible investment.</a:t>
            </a:r>
          </a:p>
          <a:p>
            <a:pPr marL="340360" indent="-340360">
              <a:spcAft>
                <a:spcPts val="300"/>
              </a:spcAft>
            </a:pPr>
            <a:endParaRPr lang="en-US" sz="240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0360" indent="-340360">
              <a:spcAft>
                <a:spcPts val="300"/>
              </a:spcAft>
            </a:pPr>
            <a:r>
              <a:rPr lang="en-US" sz="24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Improve network performance</a:t>
            </a:r>
            <a:endParaRPr lang="en-US" sz="240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254760" lvl="1" indent="-340360">
              <a:spcAft>
                <a:spcPts val="300"/>
              </a:spcAft>
            </a:pP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Everage hops between each 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src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/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dest</a:t>
            </a:r>
            <a:endParaRPr lang="en-US" sz="1600" err="1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254760" lvl="1" indent="-340360">
              <a:spcAft>
                <a:spcPts val="300"/>
              </a:spcAft>
            </a:pP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Everage time spent between each 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src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/</a:t>
            </a:r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dest</a:t>
            </a:r>
            <a:endParaRPr lang="en-US" sz="1600" err="1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254760" lvl="1" indent="-340360">
              <a:spcAft>
                <a:spcPts val="300"/>
              </a:spcAft>
            </a:pPr>
            <a:endParaRPr lang="en-US" sz="160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0360" indent="-340360">
              <a:spcAft>
                <a:spcPts val="300"/>
              </a:spcAft>
            </a:pPr>
            <a:endParaRPr lang="en-US" sz="240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0360" indent="-340360">
              <a:spcAft>
                <a:spcPts val="300"/>
              </a:spcAft>
            </a:pPr>
            <a:endParaRPr lang="en-US" sz="2400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AFCCCFC-DCDF-7AB4-E460-C874AFD0E3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044" y="238129"/>
            <a:ext cx="11216058" cy="811921"/>
          </a:xfrm>
        </p:spPr>
        <p:txBody>
          <a:bodyPr/>
          <a:lstStyle/>
          <a:p>
            <a:r>
              <a:rPr lang="en-US" sz="3600">
                <a:latin typeface="Arial"/>
                <a:cs typeface="Arial"/>
              </a:rPr>
              <a:t>Problem Statem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65219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5">
            <a:extLst>
              <a:ext uri="{FF2B5EF4-FFF2-40B4-BE49-F238E27FC236}">
                <a16:creationId xmlns:a16="http://schemas.microsoft.com/office/drawing/2014/main" id="{7BE36E37-D3E0-2964-A725-6DBCB58FA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043" y="238129"/>
            <a:ext cx="11527343" cy="811921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Proposal – Deep RL</a:t>
            </a:r>
            <a:endParaRPr lang="en-US" sz="3200" b="1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F04B734-ED98-04A1-FC63-3D1FBD3846AD}"/>
              </a:ext>
            </a:extLst>
          </p:cNvPr>
          <p:cNvSpPr txBox="1"/>
          <p:nvPr/>
        </p:nvSpPr>
        <p:spPr>
          <a:xfrm>
            <a:off x="947057" y="1317171"/>
            <a:ext cx="4865913" cy="369331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2400">
                <a:cs typeface="Calibri"/>
              </a:rPr>
              <a:t>Train a Deep RL Based agent to search the best config for the network.</a:t>
            </a:r>
          </a:p>
          <a:p>
            <a:pPr marL="285750" indent="-285750">
              <a:buFont typeface="Arial"/>
              <a:buChar char="•"/>
            </a:pPr>
            <a:endParaRPr lang="en-US" sz="2400">
              <a:latin typeface="Calibri"/>
              <a:cs typeface="Calibri"/>
            </a:endParaRPr>
          </a:p>
          <a:p>
            <a:pPr marL="285750" indent="-285750">
              <a:buFont typeface="Arial,Sans-Serif"/>
              <a:buChar char="•"/>
            </a:pPr>
            <a:r>
              <a:rPr lang="en-US" sz="2400">
                <a:latin typeface="Calibri"/>
                <a:cs typeface="Arial"/>
              </a:rPr>
              <a:t>Best for solving sequential </a:t>
            </a:r>
            <a:r>
              <a:rPr lang="en-US" sz="2400">
                <a:ea typeface="+mn-lt"/>
                <a:cs typeface="+mn-lt"/>
              </a:rPr>
              <a:t>decision-</a:t>
            </a:r>
            <a:r>
              <a:rPr lang="en-US" sz="2400">
                <a:ea typeface="+mn-lt"/>
                <a:cs typeface="Arial"/>
              </a:rPr>
              <a:t>making</a:t>
            </a:r>
            <a:r>
              <a:rPr lang="en-US" sz="2400">
                <a:latin typeface="Calibri"/>
                <a:cs typeface="Arial"/>
              </a:rPr>
              <a:t> problems. </a:t>
            </a:r>
            <a:endParaRPr lang="en-US" sz="2400">
              <a:latin typeface="Calibri"/>
              <a:ea typeface="Calibri"/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endParaRPr lang="en-US" sz="2400">
              <a:latin typeface="Calibri"/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r>
              <a:rPr lang="en-US" sz="2400">
                <a:latin typeface="Calibri"/>
                <a:cs typeface="Arial"/>
              </a:rPr>
              <a:t>Train a policy to optimize a series of the actions.</a:t>
            </a:r>
            <a:endParaRPr lang="en-US" sz="2400">
              <a:latin typeface="Calibri"/>
              <a:ea typeface="Calibri"/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>
              <a:latin typeface="Calibri"/>
              <a:cs typeface="Calibri"/>
            </a:endParaRPr>
          </a:p>
        </p:txBody>
      </p:sp>
      <p:pic>
        <p:nvPicPr>
          <p:cNvPr id="4" name="Picture 4" descr="Diagram&#10;&#10;Description automatically generated">
            <a:extLst>
              <a:ext uri="{FF2B5EF4-FFF2-40B4-BE49-F238E27FC236}">
                <a16:creationId xmlns:a16="http://schemas.microsoft.com/office/drawing/2014/main" id="{5187104C-C115-9AE1-1221-B950EB79F4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33535" y="2145139"/>
            <a:ext cx="2959443" cy="221761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650DB80-331C-1269-A592-3512DD44F563}"/>
              </a:ext>
            </a:extLst>
          </p:cNvPr>
          <p:cNvSpPr txBox="1"/>
          <p:nvPr/>
        </p:nvSpPr>
        <p:spPr>
          <a:xfrm>
            <a:off x="8762999" y="3058296"/>
            <a:ext cx="274319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ea typeface="Calibri"/>
                <a:cs typeface="Calibri"/>
              </a:rPr>
              <a:t>= Deep Learning + R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85650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5">
            <a:extLst>
              <a:ext uri="{FF2B5EF4-FFF2-40B4-BE49-F238E27FC236}">
                <a16:creationId xmlns:a16="http://schemas.microsoft.com/office/drawing/2014/main" id="{7BE36E37-D3E0-2964-A725-6DBCB58FA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043" y="238129"/>
            <a:ext cx="11527343" cy="811921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RL Key Concepts</a:t>
            </a:r>
            <a:endParaRPr lang="en-US" sz="3200" b="1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F04B734-ED98-04A1-FC63-3D1FBD3846AD}"/>
              </a:ext>
            </a:extLst>
          </p:cNvPr>
          <p:cNvSpPr txBox="1"/>
          <p:nvPr/>
        </p:nvSpPr>
        <p:spPr>
          <a:xfrm>
            <a:off x="947057" y="1317171"/>
            <a:ext cx="5825835" cy="541686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>
                <a:latin typeface="Calibri"/>
                <a:cs typeface="Calibri"/>
              </a:rPr>
              <a:t>Assuming Markov Decision Process(S, A, R, P)</a:t>
            </a:r>
          </a:p>
          <a:p>
            <a:pPr marL="285750" indent="-285750">
              <a:buFont typeface="Arial"/>
              <a:buChar char="•"/>
            </a:pPr>
            <a:endParaRPr lang="en-US" sz="1600">
              <a:latin typeface="Calibri"/>
              <a:cs typeface="Calibri"/>
            </a:endParaRPr>
          </a:p>
          <a:p>
            <a:pPr marL="285750" indent="-285750">
              <a:buFont typeface="Arial,Sans-Serif"/>
              <a:buChar char="•"/>
            </a:pPr>
            <a:r>
              <a:rPr lang="en-US" sz="1600">
                <a:latin typeface="Calibri"/>
                <a:cs typeface="Arial"/>
              </a:rPr>
              <a:t>State(s): </a:t>
            </a:r>
          </a:p>
          <a:p>
            <a:pPr marL="742315" lvl="1" indent="-285750">
              <a:buFont typeface="Arial,Sans-Serif"/>
              <a:buChar char="•"/>
            </a:pPr>
            <a:r>
              <a:rPr lang="en-US" sz="1600">
                <a:latin typeface="Calibri"/>
                <a:cs typeface="Arial"/>
              </a:rPr>
              <a:t>Current available information about the Env.</a:t>
            </a:r>
            <a:endParaRPr lang="en-US">
              <a:latin typeface="Calibri"/>
              <a:cs typeface="Calibri"/>
            </a:endParaRPr>
          </a:p>
          <a:p>
            <a:pPr marL="742315" lvl="1" indent="-285750">
              <a:buFont typeface="Arial,Sans-Serif"/>
              <a:buChar char="•"/>
            </a:pPr>
            <a:endParaRPr lang="en-US" sz="1600">
              <a:latin typeface="Calibri"/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r>
              <a:rPr lang="en-US" sz="1600">
                <a:latin typeface="Calibri"/>
                <a:cs typeface="Arial"/>
              </a:rPr>
              <a:t>Action(a): </a:t>
            </a:r>
          </a:p>
          <a:p>
            <a:pPr marL="742315" lvl="1" indent="-285750">
              <a:buFont typeface="Arial,Sans-Serif"/>
              <a:buChar char="•"/>
            </a:pPr>
            <a:r>
              <a:rPr lang="en-US" sz="1600">
                <a:latin typeface="Calibri"/>
                <a:cs typeface="Arial"/>
              </a:rPr>
              <a:t>Next hop, etc. </a:t>
            </a:r>
          </a:p>
          <a:p>
            <a:pPr marL="742315" lvl="1" indent="-285750">
              <a:buFont typeface="Arial,Sans-Serif"/>
              <a:buChar char="•"/>
            </a:pPr>
            <a:endParaRPr lang="en-US" sz="1600">
              <a:latin typeface="Calibri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600">
                <a:latin typeface="Calibri"/>
                <a:cs typeface="Calibri"/>
              </a:rPr>
              <a:t>Reward(r): r</a:t>
            </a:r>
            <a:endParaRPr lang="en-US" sz="1600">
              <a:ea typeface="Calibri"/>
              <a:cs typeface="Calibri"/>
            </a:endParaRPr>
          </a:p>
          <a:p>
            <a:pPr marL="742315" lvl="1" indent="-285750">
              <a:buFont typeface="Arial"/>
              <a:buChar char="•"/>
            </a:pPr>
            <a:r>
              <a:rPr lang="en-US" sz="1600">
                <a:latin typeface="Calibri"/>
                <a:cs typeface="Calibri"/>
              </a:rPr>
              <a:t>Immediate feedback from Env after an action from an agent upon the Env.</a:t>
            </a:r>
            <a:endParaRPr lang="en-US" sz="1600">
              <a:ea typeface="Calibri"/>
              <a:cs typeface="Calibri" panose="020F0502020204030204"/>
            </a:endParaRPr>
          </a:p>
          <a:p>
            <a:pPr marL="285750" indent="-285750">
              <a:buFont typeface="Arial"/>
              <a:buChar char="•"/>
            </a:pPr>
            <a:endParaRPr lang="en-US" sz="1600">
              <a:latin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sz="1600">
                <a:latin typeface="Calibri"/>
                <a:cs typeface="Calibri"/>
              </a:rPr>
              <a:t>Return(G): </a:t>
            </a:r>
            <a:endParaRPr lang="en-US" sz="1600"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 sz="1600"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 sz="1600"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 sz="1600">
              <a:latin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 sz="2400">
              <a:latin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 sz="2400">
              <a:latin typeface="Calibri"/>
              <a:cs typeface="Calibri"/>
            </a:endParaRPr>
          </a:p>
          <a:p>
            <a:pPr marL="742315" lvl="1" indent="-285750">
              <a:buFont typeface="Arial"/>
              <a:buChar char="•"/>
            </a:pPr>
            <a:endParaRPr lang="en-US" sz="2400">
              <a:latin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>
              <a:latin typeface="Calibri"/>
              <a:cs typeface="Calibri"/>
            </a:endParaRPr>
          </a:p>
        </p:txBody>
      </p:sp>
      <p:pic>
        <p:nvPicPr>
          <p:cNvPr id="4" name="Picture 5" descr="Diagram&#10;&#10;Description automatically generated">
            <a:extLst>
              <a:ext uri="{FF2B5EF4-FFF2-40B4-BE49-F238E27FC236}">
                <a16:creationId xmlns:a16="http://schemas.microsoft.com/office/drawing/2014/main" id="{AF34F3D2-FD6B-04D2-ECAD-DEA64F665E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0294" y="1856603"/>
            <a:ext cx="4747362" cy="200546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170EF47-C3E3-1176-98FE-8C5B58FC9FC6}"/>
              </a:ext>
            </a:extLst>
          </p:cNvPr>
          <p:cNvSpPr txBox="1"/>
          <p:nvPr/>
        </p:nvSpPr>
        <p:spPr>
          <a:xfrm>
            <a:off x="4458622" y="6073153"/>
            <a:ext cx="3396342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>
                <a:latin typeface="Arial"/>
                <a:ea typeface="Calibri"/>
                <a:cs typeface="Arial"/>
              </a:rPr>
              <a:t>Reinforcement Learning: An Introduction</a:t>
            </a:r>
            <a:endParaRPr lang="en-US" sz="1200">
              <a:latin typeface="Arial"/>
              <a:cs typeface="Arial"/>
            </a:endParaRPr>
          </a:p>
        </p:txBody>
      </p:sp>
      <p:pic>
        <p:nvPicPr>
          <p:cNvPr id="10" name="Picture 6" descr="Text, letter&#10;&#10;Description automatically generated">
            <a:extLst>
              <a:ext uri="{FF2B5EF4-FFF2-40B4-BE49-F238E27FC236}">
                <a16:creationId xmlns:a16="http://schemas.microsoft.com/office/drawing/2014/main" id="{A2983863-3E82-28AC-5AF6-56FB9433D4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71258" y="4645083"/>
            <a:ext cx="5167745" cy="654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9440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5">
            <a:extLst>
              <a:ext uri="{FF2B5EF4-FFF2-40B4-BE49-F238E27FC236}">
                <a16:creationId xmlns:a16="http://schemas.microsoft.com/office/drawing/2014/main" id="{7BE36E37-D3E0-2964-A725-6DBCB58FA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043" y="238129"/>
            <a:ext cx="11527343" cy="811921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RL Key Concepts</a:t>
            </a: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F04B734-ED98-04A1-FC63-3D1FBD3846AD}"/>
              </a:ext>
            </a:extLst>
          </p:cNvPr>
          <p:cNvSpPr txBox="1"/>
          <p:nvPr/>
        </p:nvSpPr>
        <p:spPr>
          <a:xfrm>
            <a:off x="947057" y="1366651"/>
            <a:ext cx="6064570" cy="504753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endParaRPr lang="en-US" sz="2400">
              <a:latin typeface="Calibri"/>
              <a:ea typeface="Calibri" panose="020F0502020204030204"/>
              <a:cs typeface="Calibri"/>
            </a:endParaRPr>
          </a:p>
          <a:p>
            <a:pPr marL="285750" indent="-285750">
              <a:buFont typeface="Arial,Sans-Serif"/>
              <a:buChar char="•"/>
            </a:pPr>
            <a:r>
              <a:rPr lang="en-US" sz="1600">
                <a:latin typeface="Calibri"/>
                <a:ea typeface="Calibri" panose="020F0502020204030204"/>
                <a:cs typeface="Arial"/>
              </a:rPr>
              <a:t>Value function(V):</a:t>
            </a:r>
          </a:p>
          <a:p>
            <a:pPr marL="742315" lvl="1" indent="-285750">
              <a:buFont typeface="Arial,Sans-Serif"/>
              <a:buChar char="•"/>
            </a:pPr>
            <a:endParaRPr lang="en-US" sz="1600">
              <a:latin typeface="Calibri"/>
              <a:ea typeface="Calibri" panose="020F0502020204030204"/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endParaRPr lang="en-US" sz="1600">
              <a:latin typeface="Calibri"/>
              <a:ea typeface="Calibri" panose="020F0502020204030204"/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endParaRPr lang="en-US" sz="1600">
              <a:latin typeface="Calibri"/>
              <a:ea typeface="Calibri" panose="020F0502020204030204"/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r>
              <a:rPr lang="en-US" sz="1600">
                <a:latin typeface="Calibri"/>
                <a:ea typeface="Calibri" panose="020F0502020204030204"/>
                <a:cs typeface="Arial"/>
              </a:rPr>
              <a:t>Policy π(</a:t>
            </a:r>
            <a:r>
              <a:rPr lang="en-US" sz="1600" err="1">
                <a:latin typeface="Calibri"/>
                <a:ea typeface="Calibri" panose="020F0502020204030204"/>
                <a:cs typeface="Arial"/>
              </a:rPr>
              <a:t>a|s</a:t>
            </a:r>
            <a:r>
              <a:rPr lang="en-US" sz="1600">
                <a:latin typeface="Calibri"/>
                <a:ea typeface="Calibri" panose="020F0502020204030204"/>
                <a:cs typeface="Arial"/>
              </a:rPr>
              <a:t>):</a:t>
            </a:r>
          </a:p>
          <a:p>
            <a:pPr marL="742315" lvl="1" indent="-285750">
              <a:buFont typeface="Arial,Sans-Serif"/>
              <a:buChar char="•"/>
            </a:pPr>
            <a:r>
              <a:rPr lang="en-US" sz="1600">
                <a:latin typeface="Calibri"/>
                <a:ea typeface="Calibri" panose="020F0502020204030204"/>
                <a:cs typeface="Arial"/>
              </a:rPr>
              <a:t>Mapping from state to action. Can be stochastic or deterministic.</a:t>
            </a:r>
          </a:p>
          <a:p>
            <a:pPr marL="285750" indent="-285750">
              <a:buFont typeface="Arial"/>
              <a:buChar char="•"/>
            </a:pPr>
            <a:endParaRPr lang="en-US" sz="1600">
              <a:latin typeface="Calibri"/>
              <a:ea typeface="Calibri" panose="020F0502020204030204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sz="1600" b="1">
                <a:latin typeface="Calibri"/>
                <a:ea typeface="Calibri" panose="020F0502020204030204"/>
                <a:cs typeface="Calibri"/>
              </a:rPr>
              <a:t>Goal of RL is to train a policy that maximize value function V or Q.</a:t>
            </a:r>
            <a:endParaRPr lang="en-US" sz="1600" b="1"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 sz="1600" b="1">
              <a:latin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 sz="1600" b="1">
              <a:latin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sz="1600" b="1">
                <a:latin typeface="Calibri"/>
                <a:cs typeface="Calibri"/>
              </a:rPr>
              <a:t>Generalized Policy Iteration: </a:t>
            </a:r>
            <a:endParaRPr lang="en-US"/>
          </a:p>
          <a:p>
            <a:pPr marL="742315" lvl="1" indent="-285750">
              <a:buFont typeface="Arial"/>
              <a:buChar char="•"/>
            </a:pPr>
            <a:r>
              <a:rPr lang="en-US" sz="1600" b="1">
                <a:latin typeface="Calibri"/>
                <a:cs typeface="Calibri"/>
              </a:rPr>
              <a:t>Foundation framework of all RL algorithms</a:t>
            </a:r>
            <a:endParaRPr lang="en-US">
              <a:cs typeface="Calibri" panose="020F0502020204030204"/>
            </a:endParaRPr>
          </a:p>
          <a:p>
            <a:pPr marL="285750" indent="-285750">
              <a:buFont typeface="Arial"/>
              <a:buChar char="•"/>
            </a:pPr>
            <a:endParaRPr lang="en-US" sz="2400">
              <a:latin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 sz="2400">
              <a:latin typeface="Calibri"/>
              <a:cs typeface="Calibri"/>
            </a:endParaRPr>
          </a:p>
          <a:p>
            <a:pPr marL="742315" lvl="1" indent="-285750">
              <a:buFont typeface="Arial"/>
              <a:buChar char="•"/>
            </a:pPr>
            <a:endParaRPr lang="en-US" sz="2400">
              <a:latin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>
              <a:latin typeface="Calibri"/>
              <a:cs typeface="Calibri"/>
            </a:endParaRPr>
          </a:p>
        </p:txBody>
      </p:sp>
      <p:pic>
        <p:nvPicPr>
          <p:cNvPr id="3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2549543F-A8FE-528E-9B1F-126DB6B64D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9761" y="1991720"/>
            <a:ext cx="4356264" cy="64390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F4AB69F-2BF9-793D-ABB8-93CD3666EDF9}"/>
              </a:ext>
            </a:extLst>
          </p:cNvPr>
          <p:cNvSpPr txBox="1"/>
          <p:nvPr/>
        </p:nvSpPr>
        <p:spPr>
          <a:xfrm>
            <a:off x="7644740" y="1654628"/>
            <a:ext cx="4445329" cy="240065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>
                <a:cs typeface="Calibri"/>
              </a:rPr>
              <a:t>Generalized Policy Iteration:</a:t>
            </a:r>
          </a:p>
          <a:p>
            <a:endParaRPr lang="en-US"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sz="1600" i="1">
                <a:cs typeface="Calibri"/>
              </a:rPr>
              <a:t>Initial Policy </a:t>
            </a:r>
            <a:r>
              <a:rPr lang="en-US" sz="1600" i="1">
                <a:ea typeface="+mn-lt"/>
                <a:cs typeface="+mn-lt"/>
              </a:rPr>
              <a:t>π(</a:t>
            </a:r>
            <a:r>
              <a:rPr lang="en-US" sz="1600" i="1" err="1">
                <a:ea typeface="+mn-lt"/>
                <a:cs typeface="+mn-lt"/>
              </a:rPr>
              <a:t>a|s</a:t>
            </a:r>
            <a:r>
              <a:rPr lang="en-US" sz="1600" i="1">
                <a:ea typeface="+mn-lt"/>
                <a:cs typeface="+mn-lt"/>
              </a:rPr>
              <a:t>, ), value function Q(</a:t>
            </a:r>
            <a:r>
              <a:rPr lang="en-US" sz="1600" i="1" err="1">
                <a:ea typeface="+mn-lt"/>
                <a:cs typeface="+mn-lt"/>
              </a:rPr>
              <a:t>s,a</a:t>
            </a:r>
            <a:r>
              <a:rPr lang="en-US" sz="1600" i="1">
                <a:ea typeface="+mn-lt"/>
                <a:cs typeface="+mn-lt"/>
              </a:rPr>
              <a:t>)</a:t>
            </a:r>
          </a:p>
          <a:p>
            <a:pPr marL="285750" indent="-285750">
              <a:buFont typeface="Arial"/>
              <a:buChar char="•"/>
            </a:pPr>
            <a:r>
              <a:rPr lang="en-US" sz="1600" i="1">
                <a:cs typeface="Calibri"/>
              </a:rPr>
              <a:t>Initial state s</a:t>
            </a:r>
          </a:p>
          <a:p>
            <a:pPr marL="285750" indent="-285750">
              <a:buFont typeface="Arial"/>
              <a:buChar char="•"/>
            </a:pPr>
            <a:r>
              <a:rPr lang="en-US" sz="1600" i="1">
                <a:cs typeface="Calibri"/>
              </a:rPr>
              <a:t>Loop forever:</a:t>
            </a:r>
          </a:p>
          <a:p>
            <a:pPr marL="799465" lvl="1" indent="-342900">
              <a:buAutoNum type="arabicPeriod"/>
            </a:pPr>
            <a:r>
              <a:rPr lang="en-US" sz="1600" i="1">
                <a:cs typeface="Calibri"/>
              </a:rPr>
              <a:t>Emit action a given </a:t>
            </a:r>
            <a:r>
              <a:rPr lang="en-US" sz="1600">
                <a:cs typeface="Calibri"/>
              </a:rPr>
              <a:t>π and s</a:t>
            </a:r>
            <a:endParaRPr lang="en-US" sz="1600" i="1">
              <a:cs typeface="Calibri"/>
            </a:endParaRPr>
          </a:p>
          <a:p>
            <a:pPr marL="799465" lvl="1" indent="-342900">
              <a:buAutoNum type="arabicPeriod"/>
            </a:pPr>
            <a:r>
              <a:rPr lang="en-US" sz="1600" b="1" i="1">
                <a:cs typeface="Calibri"/>
              </a:rPr>
              <a:t>Evaluate Q(</a:t>
            </a:r>
            <a:r>
              <a:rPr lang="en-US" sz="1600" b="1" i="1" err="1">
                <a:cs typeface="Calibri"/>
              </a:rPr>
              <a:t>s,a</a:t>
            </a:r>
            <a:r>
              <a:rPr lang="en-US" sz="1600" b="1" i="1">
                <a:cs typeface="Calibri"/>
              </a:rPr>
              <a:t>) also called criti</a:t>
            </a:r>
            <a:r>
              <a:rPr lang="en-US" sz="1600" i="1">
                <a:cs typeface="Calibri"/>
              </a:rPr>
              <a:t>c</a:t>
            </a:r>
          </a:p>
          <a:p>
            <a:pPr marL="799465" lvl="1" indent="-342900">
              <a:buAutoNum type="arabicPeriod"/>
            </a:pPr>
            <a:r>
              <a:rPr lang="en-US" sz="1600" b="1" i="1">
                <a:cs typeface="Calibri"/>
              </a:rPr>
              <a:t>Improve Policy </a:t>
            </a:r>
            <a:r>
              <a:rPr lang="en-US" sz="1600" b="1">
                <a:ea typeface="+mn-lt"/>
                <a:cs typeface="+mn-lt"/>
              </a:rPr>
              <a:t>π as called actor</a:t>
            </a:r>
          </a:p>
          <a:p>
            <a:pPr marL="799465" lvl="1" indent="-342900">
              <a:buAutoNum type="arabicPeriod"/>
            </a:pPr>
            <a:r>
              <a:rPr lang="en-US" sz="1600">
                <a:cs typeface="Calibri"/>
              </a:rPr>
              <a:t>Update s</a:t>
            </a:r>
          </a:p>
        </p:txBody>
      </p:sp>
    </p:spTree>
    <p:extLst>
      <p:ext uri="{BB962C8B-B14F-4D97-AF65-F5344CB8AC3E}">
        <p14:creationId xmlns:p14="http://schemas.microsoft.com/office/powerpoint/2010/main" val="7855044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5">
            <a:extLst>
              <a:ext uri="{FF2B5EF4-FFF2-40B4-BE49-F238E27FC236}">
                <a16:creationId xmlns:a16="http://schemas.microsoft.com/office/drawing/2014/main" id="{7BE36E37-D3E0-2964-A725-6DBCB58FA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043" y="238129"/>
            <a:ext cx="11527343" cy="811921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RL Algorithms</a:t>
            </a: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F04B734-ED98-04A1-FC63-3D1FBD3846AD}"/>
              </a:ext>
            </a:extLst>
          </p:cNvPr>
          <p:cNvSpPr txBox="1"/>
          <p:nvPr/>
        </p:nvSpPr>
        <p:spPr>
          <a:xfrm>
            <a:off x="947057" y="1317171"/>
            <a:ext cx="8111835" cy="209288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endParaRPr lang="en-US" sz="2400">
              <a:latin typeface="Calibri"/>
              <a:ea typeface="Calibri" panose="020F0502020204030204"/>
              <a:cs typeface="Calibri"/>
            </a:endParaRPr>
          </a:p>
          <a:p>
            <a:pPr marL="285750" indent="-285750">
              <a:buFont typeface="Arial,Sans-Serif"/>
              <a:buChar char="•"/>
            </a:pPr>
            <a:endParaRPr lang="en-US" sz="1600"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 sz="2400">
              <a:latin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 sz="2400">
              <a:latin typeface="Calibri"/>
              <a:cs typeface="Calibri"/>
            </a:endParaRPr>
          </a:p>
          <a:p>
            <a:pPr marL="742315" lvl="1" indent="-285750">
              <a:buFont typeface="Arial"/>
              <a:buChar char="•"/>
            </a:pPr>
            <a:endParaRPr lang="en-US" sz="2400">
              <a:latin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>
              <a:latin typeface="Calibri"/>
              <a:cs typeface="Calibri"/>
            </a:endParaRPr>
          </a:p>
        </p:txBody>
      </p:sp>
      <p:pic>
        <p:nvPicPr>
          <p:cNvPr id="4" name="Picture 5" descr="A picture containing clock, antenna, gauge&#10;&#10;Description automatically generated">
            <a:extLst>
              <a:ext uri="{FF2B5EF4-FFF2-40B4-BE49-F238E27FC236}">
                <a16:creationId xmlns:a16="http://schemas.microsoft.com/office/drawing/2014/main" id="{EAAA2C7E-12D5-0C1B-FACA-89CA554DB6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6980" y="4301524"/>
            <a:ext cx="4354286" cy="550846"/>
          </a:xfrm>
          <a:prstGeom prst="rect">
            <a:avLst/>
          </a:prstGeom>
        </p:spPr>
      </p:pic>
      <p:pic>
        <p:nvPicPr>
          <p:cNvPr id="5" name="Picture 5" descr="Diagram&#10;&#10;Description automatically generated">
            <a:extLst>
              <a:ext uri="{FF2B5EF4-FFF2-40B4-BE49-F238E27FC236}">
                <a16:creationId xmlns:a16="http://schemas.microsoft.com/office/drawing/2014/main" id="{F42233E5-67A2-60D5-A907-6F9B4D2C7F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73786" y="956883"/>
            <a:ext cx="8753103" cy="4638063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A5D6AC73-4883-76F2-941B-36513DAA3330}"/>
              </a:ext>
            </a:extLst>
          </p:cNvPr>
          <p:cNvSpPr/>
          <p:nvPr/>
        </p:nvSpPr>
        <p:spPr>
          <a:xfrm>
            <a:off x="5138351" y="3779108"/>
            <a:ext cx="1534297" cy="463378"/>
          </a:xfrm>
          <a:prstGeom prst="ellipse">
            <a:avLst/>
          </a:prstGeom>
          <a:noFill/>
          <a:ln w="2857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14A7DF0-E578-5E2E-FB00-DB32C5F7EEBC}"/>
              </a:ext>
            </a:extLst>
          </p:cNvPr>
          <p:cNvSpPr/>
          <p:nvPr/>
        </p:nvSpPr>
        <p:spPr>
          <a:xfrm>
            <a:off x="3367216" y="3954162"/>
            <a:ext cx="1534297" cy="463378"/>
          </a:xfrm>
          <a:prstGeom prst="ellipse">
            <a:avLst/>
          </a:prstGeom>
          <a:noFill/>
          <a:ln w="2857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B0EF9D0-9410-3D31-2F27-D832EDAA37E3}"/>
              </a:ext>
            </a:extLst>
          </p:cNvPr>
          <p:cNvSpPr/>
          <p:nvPr/>
        </p:nvSpPr>
        <p:spPr>
          <a:xfrm>
            <a:off x="1513702" y="4190999"/>
            <a:ext cx="1534297" cy="463378"/>
          </a:xfrm>
          <a:prstGeom prst="ellipse">
            <a:avLst/>
          </a:prstGeom>
          <a:noFill/>
          <a:ln w="2857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D9A4580-2DBD-A178-386A-E5CCDE384F2E}"/>
              </a:ext>
            </a:extLst>
          </p:cNvPr>
          <p:cNvSpPr/>
          <p:nvPr/>
        </p:nvSpPr>
        <p:spPr>
          <a:xfrm>
            <a:off x="1513702" y="4705864"/>
            <a:ext cx="1493108" cy="411892"/>
          </a:xfrm>
          <a:prstGeom prst="ellipse">
            <a:avLst/>
          </a:prstGeom>
          <a:noFill/>
          <a:ln w="2857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7423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5">
            <a:extLst>
              <a:ext uri="{FF2B5EF4-FFF2-40B4-BE49-F238E27FC236}">
                <a16:creationId xmlns:a16="http://schemas.microsoft.com/office/drawing/2014/main" id="{7BE36E37-D3E0-2964-A725-6DBCB58FA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81192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b="1" kern="120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eep Deterministic Policy Gradien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F04B734-ED98-04A1-FC63-3D1FBD3846AD}"/>
              </a:ext>
            </a:extLst>
          </p:cNvPr>
          <p:cNvSpPr txBox="1"/>
          <p:nvPr/>
        </p:nvSpPr>
        <p:spPr>
          <a:xfrm>
            <a:off x="838200" y="1410511"/>
            <a:ext cx="4138864" cy="4786504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marL="285750" indent="-227965" defTabSz="914332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27965" defTabSz="91433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>
                <a:solidFill>
                  <a:schemeClr val="bg2"/>
                </a:solidFill>
                <a:latin typeface="Arial"/>
                <a:cs typeface="Arial"/>
              </a:rPr>
              <a:t>Model free based.</a:t>
            </a:r>
          </a:p>
          <a:p>
            <a:pPr marL="285750" indent="-227965" defTabSz="91433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>
                <a:solidFill>
                  <a:schemeClr val="bg2"/>
                </a:solidFill>
                <a:latin typeface="Arial"/>
                <a:cs typeface="Arial"/>
              </a:rPr>
              <a:t>A type of Actor-Critic model.</a:t>
            </a:r>
            <a:endParaRPr lang="en-US" sz="220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27965" defTabSz="91433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>
                <a:solidFill>
                  <a:schemeClr val="bg2"/>
                </a:solidFill>
                <a:latin typeface="Arial"/>
                <a:cs typeface="Arial"/>
              </a:rPr>
              <a:t>Off policy algorithm.</a:t>
            </a:r>
          </a:p>
          <a:p>
            <a:pPr marL="742315" lvl="1" indent="-227965" defTabSz="91433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>
                <a:solidFill>
                  <a:schemeClr val="bg2"/>
                </a:solidFill>
                <a:latin typeface="Arial"/>
                <a:cs typeface="Arial"/>
              </a:rPr>
              <a:t>Utilizes previous experiences</a:t>
            </a:r>
          </a:p>
          <a:p>
            <a:pPr marL="285750" indent="-227965" defTabSz="91433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>
                <a:solidFill>
                  <a:schemeClr val="bg2"/>
                </a:solidFill>
                <a:latin typeface="Arial"/>
                <a:cs typeface="Arial"/>
              </a:rPr>
              <a:t>Continues action space.</a:t>
            </a:r>
          </a:p>
          <a:p>
            <a:pPr marL="285750" indent="-227965" defTabSz="91433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>
                <a:solidFill>
                  <a:schemeClr val="bg2"/>
                </a:solidFill>
                <a:latin typeface="Arial"/>
                <a:cs typeface="Arial"/>
              </a:rPr>
              <a:t>Deterministic Policy π(s).</a:t>
            </a:r>
            <a:endParaRPr lang="en-US" sz="220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27965" defTabSz="914332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27965" defTabSz="914332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27965" defTabSz="914332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27965" defTabSz="914332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315" lvl="1" indent="-227965" defTabSz="914332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27965" defTabSz="914332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4" descr="Text, letter&#10;&#10;Description automatically generated">
            <a:extLst>
              <a:ext uri="{FF2B5EF4-FFF2-40B4-BE49-F238E27FC236}">
                <a16:creationId xmlns:a16="http://schemas.microsoft.com/office/drawing/2014/main" id="{7DDF6BC0-6BC0-E779-7014-D75EAEAE8D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2949" y="1322627"/>
            <a:ext cx="6608728" cy="4879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4148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5">
            <a:extLst>
              <a:ext uri="{FF2B5EF4-FFF2-40B4-BE49-F238E27FC236}">
                <a16:creationId xmlns:a16="http://schemas.microsoft.com/office/drawing/2014/main" id="{7BE36E37-D3E0-2964-A725-6DBCB58FA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043" y="238129"/>
            <a:ext cx="11527343" cy="811921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What We have -- Data</a:t>
            </a:r>
            <a:endParaRPr lang="en-US" sz="3200" b="1">
              <a:latin typeface="Arial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F04B734-ED98-04A1-FC63-3D1FBD3846AD}"/>
              </a:ext>
            </a:extLst>
          </p:cNvPr>
          <p:cNvSpPr txBox="1"/>
          <p:nvPr/>
        </p:nvSpPr>
        <p:spPr>
          <a:xfrm>
            <a:off x="947057" y="1317171"/>
            <a:ext cx="4865913" cy="498598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endParaRPr lang="en-US" sz="2400">
              <a:latin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sz="2400">
                <a:latin typeface="Calibri"/>
                <a:cs typeface="Calibri"/>
              </a:rPr>
              <a:t>A network simulator powered by Batfish.</a:t>
            </a:r>
          </a:p>
          <a:p>
            <a:pPr marL="285750" indent="-285750">
              <a:buFont typeface="Arial"/>
              <a:buChar char="•"/>
            </a:pPr>
            <a:r>
              <a:rPr lang="en-US" sz="2400">
                <a:latin typeface="Calibri"/>
                <a:cs typeface="Calibri"/>
              </a:rPr>
              <a:t>Total nodes: 26</a:t>
            </a:r>
          </a:p>
          <a:p>
            <a:pPr marL="285750" indent="-285750">
              <a:buFont typeface="Arial"/>
              <a:buChar char="•"/>
            </a:pPr>
            <a:r>
              <a:rPr lang="en-US" sz="2400">
                <a:latin typeface="Calibri"/>
                <a:cs typeface="Calibri"/>
              </a:rPr>
              <a:t>Total link: 62</a:t>
            </a:r>
          </a:p>
          <a:p>
            <a:pPr marL="285750" indent="-285750">
              <a:buFont typeface="Arial"/>
              <a:buChar char="•"/>
            </a:pPr>
            <a:r>
              <a:rPr lang="en-US" sz="2400">
                <a:latin typeface="Calibri"/>
                <a:cs typeface="Calibri"/>
              </a:rPr>
              <a:t>Total </a:t>
            </a:r>
            <a:r>
              <a:rPr lang="en-US" sz="2400" err="1">
                <a:latin typeface="Calibri"/>
                <a:cs typeface="Calibri"/>
              </a:rPr>
              <a:t>src</a:t>
            </a:r>
            <a:r>
              <a:rPr lang="en-US" sz="2400">
                <a:latin typeface="Calibri"/>
                <a:cs typeface="Calibri"/>
              </a:rPr>
              <a:t>/</a:t>
            </a:r>
            <a:r>
              <a:rPr lang="en-US" sz="2400" err="1">
                <a:latin typeface="Calibri"/>
                <a:cs typeface="Calibri"/>
              </a:rPr>
              <a:t>dest</a:t>
            </a:r>
            <a:r>
              <a:rPr lang="en-US" sz="2400">
                <a:latin typeface="Calibri"/>
                <a:cs typeface="Calibri"/>
              </a:rPr>
              <a:t> combinations: 325</a:t>
            </a:r>
          </a:p>
          <a:p>
            <a:pPr marL="285750" indent="-285750">
              <a:buFont typeface="Arial"/>
              <a:buChar char="•"/>
            </a:pPr>
            <a:r>
              <a:rPr lang="en-US" sz="2400">
                <a:latin typeface="Calibri"/>
                <a:cs typeface="Calibri"/>
              </a:rPr>
              <a:t>Protocol: OSPF</a:t>
            </a:r>
          </a:p>
          <a:p>
            <a:pPr marL="285750" indent="-285750">
              <a:buFont typeface="Arial"/>
              <a:buChar char="•"/>
            </a:pPr>
            <a:r>
              <a:rPr lang="en-US" sz="2400">
                <a:latin typeface="Calibri"/>
                <a:cs typeface="Calibri"/>
              </a:rPr>
              <a:t>Available bandwidths:</a:t>
            </a:r>
          </a:p>
          <a:p>
            <a:pPr marL="742315" lvl="1" indent="-285750">
              <a:buFont typeface="Arial"/>
              <a:buChar char="•"/>
            </a:pPr>
            <a:r>
              <a:rPr lang="en-US">
                <a:cs typeface="Calibri" panose="020F0502020204030204"/>
              </a:rPr>
              <a:t>[10, 100, 1,000, 10,000, 25,000, 40,000, 100,000]</a:t>
            </a:r>
          </a:p>
          <a:p>
            <a:pPr marL="285750" indent="-285750">
              <a:buFont typeface="Arial"/>
              <a:buChar char="•"/>
            </a:pPr>
            <a:endParaRPr lang="en-US" sz="2400">
              <a:latin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 sz="2400">
              <a:latin typeface="Calibri"/>
              <a:cs typeface="Calibri"/>
            </a:endParaRPr>
          </a:p>
          <a:p>
            <a:pPr marL="742315" lvl="1" indent="-285750">
              <a:buFont typeface="Arial"/>
              <a:buChar char="•"/>
            </a:pPr>
            <a:endParaRPr lang="en-US" sz="2400">
              <a:latin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>
              <a:latin typeface="Calibri"/>
              <a:cs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8EAC309-1D0F-C603-C3D3-24DBC00F5259}"/>
              </a:ext>
            </a:extLst>
          </p:cNvPr>
          <p:cNvSpPr txBox="1"/>
          <p:nvPr/>
        </p:nvSpPr>
        <p:spPr>
          <a:xfrm>
            <a:off x="7859485" y="1382485"/>
            <a:ext cx="2743200" cy="12926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400">
                <a:cs typeface="Calibri"/>
              </a:rPr>
              <a:t>Our Goal</a:t>
            </a:r>
          </a:p>
          <a:p>
            <a:r>
              <a:rPr lang="en-US">
                <a:cs typeface="Calibri"/>
              </a:rPr>
              <a:t>Find the best config that has the shortest average path for each </a:t>
            </a:r>
            <a:r>
              <a:rPr lang="en-US" err="1">
                <a:cs typeface="Calibri"/>
              </a:rPr>
              <a:t>src</a:t>
            </a:r>
            <a:r>
              <a:rPr lang="en-US">
                <a:cs typeface="Calibri"/>
              </a:rPr>
              <a:t> and </a:t>
            </a:r>
            <a:r>
              <a:rPr lang="en-US" err="1">
                <a:cs typeface="Calibri"/>
              </a:rPr>
              <a:t>dest</a:t>
            </a:r>
            <a:r>
              <a:rPr lang="en-US">
                <a:cs typeface="Calibri"/>
              </a:rPr>
              <a:t>.</a:t>
            </a:r>
          </a:p>
        </p:txBody>
      </p:sp>
      <p:pic>
        <p:nvPicPr>
          <p:cNvPr id="5" name="Picture 5" descr="Chart, scatter chart&#10;&#10;Description automatically generated">
            <a:extLst>
              <a:ext uri="{FF2B5EF4-FFF2-40B4-BE49-F238E27FC236}">
                <a16:creationId xmlns:a16="http://schemas.microsoft.com/office/drawing/2014/main" id="{27A182F9-9009-48AF-4475-1A87D815ED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3294" y="2897658"/>
            <a:ext cx="5529942" cy="2764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5631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A theme 202102">
  <a:themeElements>
    <a:clrScheme name="Custom 3">
      <a:dk1>
        <a:srgbClr val="121212"/>
      </a:dk1>
      <a:lt1>
        <a:srgbClr val="FFFFFF"/>
      </a:lt1>
      <a:dk2>
        <a:srgbClr val="1C0087"/>
      </a:dk2>
      <a:lt2>
        <a:srgbClr val="0086EA"/>
      </a:lt2>
      <a:accent1>
        <a:srgbClr val="EE282A"/>
      </a:accent1>
      <a:accent2>
        <a:srgbClr val="162FB3"/>
      </a:accent2>
      <a:accent3>
        <a:srgbClr val="1D1E48"/>
      </a:accent3>
      <a:accent4>
        <a:srgbClr val="FA4616"/>
      </a:accent4>
      <a:accent5>
        <a:srgbClr val="E31C79"/>
      </a:accent5>
      <a:accent6>
        <a:srgbClr val="8212C3"/>
      </a:accent6>
      <a:hlink>
        <a:srgbClr val="162FB3"/>
      </a:hlink>
      <a:folHlink>
        <a:srgbClr val="FA4616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A theme 202102" id="{83B50D26-0BD6-4795-B6BC-C8336D0257E7}" vid="{34AB2916-E5B4-4763-A9EE-F89696468CC5}"/>
    </a:ext>
  </a:extLst>
</a:theme>
</file>

<file path=ppt/theme/theme2.xml><?xml version="1.0" encoding="utf-8"?>
<a:theme xmlns:a="http://schemas.openxmlformats.org/drawingml/2006/main" name="1_Office Theme">
  <a:themeElements>
    <a:clrScheme name="BAA Color Theme">
      <a:dk1>
        <a:srgbClr val="000000"/>
      </a:dk1>
      <a:lt1>
        <a:srgbClr val="FFFFFF"/>
      </a:lt1>
      <a:dk2>
        <a:srgbClr val="0036BC"/>
      </a:dk2>
      <a:lt2>
        <a:srgbClr val="FFFFFF"/>
      </a:lt2>
      <a:accent1>
        <a:srgbClr val="0036BC"/>
      </a:accent1>
      <a:accent2>
        <a:srgbClr val="054CFF"/>
      </a:accent2>
      <a:accent3>
        <a:srgbClr val="0070FF"/>
      </a:accent3>
      <a:accent4>
        <a:srgbClr val="37B8FF"/>
      </a:accent4>
      <a:accent5>
        <a:srgbClr val="95CCF9"/>
      </a:accent5>
      <a:accent6>
        <a:srgbClr val="C7E5FD"/>
      </a:accent6>
      <a:hlink>
        <a:srgbClr val="162FB3"/>
      </a:hlink>
      <a:folHlink>
        <a:srgbClr val="59B8FF"/>
      </a:folHlink>
    </a:clrScheme>
    <a:fontScheme name="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sz="16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 anchor="ctr">
        <a:noAutofit/>
      </a:bodyPr>
      <a:lstStyle>
        <a:defPPr algn="l">
          <a:defRPr sz="1200" spc="-20" dirty="0"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Office Theme">
  <a:themeElements>
    <a:clrScheme name="Custom 3">
      <a:dk1>
        <a:srgbClr val="121212"/>
      </a:dk1>
      <a:lt1>
        <a:srgbClr val="FFFFFF"/>
      </a:lt1>
      <a:dk2>
        <a:srgbClr val="1C0087"/>
      </a:dk2>
      <a:lt2>
        <a:srgbClr val="0086EA"/>
      </a:lt2>
      <a:accent1>
        <a:srgbClr val="EE282A"/>
      </a:accent1>
      <a:accent2>
        <a:srgbClr val="162FB3"/>
      </a:accent2>
      <a:accent3>
        <a:srgbClr val="1D1E48"/>
      </a:accent3>
      <a:accent4>
        <a:srgbClr val="FA4616"/>
      </a:accent4>
      <a:accent5>
        <a:srgbClr val="E31C79"/>
      </a:accent5>
      <a:accent6>
        <a:srgbClr val="8212C3"/>
      </a:accent6>
      <a:hlink>
        <a:srgbClr val="162FB3"/>
      </a:hlink>
      <a:folHlink>
        <a:srgbClr val="FA4616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sz="16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E3975862F611242B233720C0BB1545D" ma:contentTypeVersion="17" ma:contentTypeDescription="Create a new document." ma:contentTypeScope="" ma:versionID="7a19352d2dbb48d17e6ae92384ff79ec">
  <xsd:schema xmlns:xsd="http://www.w3.org/2001/XMLSchema" xmlns:xs="http://www.w3.org/2001/XMLSchema" xmlns:p="http://schemas.microsoft.com/office/2006/metadata/properties" xmlns:ns2="e1207f82-10ac-43c8-a860-aee25dbbfd60" xmlns:ns3="8445f6a9-c2e5-44d7-9a42-9f380dcf0fe2" targetNamespace="http://schemas.microsoft.com/office/2006/metadata/properties" ma:root="true" ma:fieldsID="04a95eae35106b16a28c09eae1b5ae92" ns2:_="" ns3:_="">
    <xsd:import namespace="e1207f82-10ac-43c8-a860-aee25dbbfd60"/>
    <xsd:import namespace="8445f6a9-c2e5-44d7-9a42-9f380dcf0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207f82-10ac-43c8-a860-aee25dbbfd6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5c3abd82-5fc2-4d9c-9548-5153d2824f1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45f6a9-c2e5-44d7-9a42-9f380dcf0fe2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efdbada9-5a11-455c-8cf1-41e9a53ca48d}" ma:internalName="TaxCatchAll" ma:showField="CatchAllData" ma:web="8445f6a9-c2e5-44d7-9a42-9f380dcf0fe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1207f82-10ac-43c8-a860-aee25dbbfd60">
      <Terms xmlns="http://schemas.microsoft.com/office/infopath/2007/PartnerControls"/>
    </lcf76f155ced4ddcb4097134ff3c332f>
    <TaxCatchAll xmlns="8445f6a9-c2e5-44d7-9a42-9f380dcf0fe2" xsi:nil="true"/>
  </documentManagement>
</p:properties>
</file>

<file path=customXml/itemProps1.xml><?xml version="1.0" encoding="utf-8"?>
<ds:datastoreItem xmlns:ds="http://schemas.openxmlformats.org/officeDocument/2006/customXml" ds:itemID="{E9FB26CF-9E5A-4962-834D-F5BD8AE5407E}">
  <ds:schemaRefs>
    <ds:schemaRef ds:uri="8445f6a9-c2e5-44d7-9a42-9f380dcf0fe2"/>
    <ds:schemaRef ds:uri="e1207f82-10ac-43c8-a860-aee25dbbfd6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51A86FE-B85B-4A8B-A8B2-199923C4EF3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E504F18-13AF-46C0-87BE-D9BDA6D8C69A}">
  <ds:schemaRefs>
    <ds:schemaRef ds:uri="8445f6a9-c2e5-44d7-9a42-9f380dcf0fe2"/>
    <ds:schemaRef ds:uri="e1207f82-10ac-43c8-a860-aee25dbbfd6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Application>Microsoft Office PowerPoint</Application>
  <PresentationFormat>Widescreen</PresentationFormat>
  <Slides>12</Slides>
  <Notes>12</Notes>
  <HiddenSlides>0</HiddenSlide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2</vt:i4>
      </vt:variant>
    </vt:vector>
  </HeadingPairs>
  <TitlesOfParts>
    <vt:vector size="15" baseType="lpstr">
      <vt:lpstr>BAA theme 202102</vt:lpstr>
      <vt:lpstr>1_Office Theme</vt:lpstr>
      <vt:lpstr>4_Office Theme</vt:lpstr>
      <vt:lpstr>Network Config Optimization</vt:lpstr>
      <vt:lpstr>Agenda</vt:lpstr>
      <vt:lpstr>Problem Statement</vt:lpstr>
      <vt:lpstr>Proposal – Deep RL</vt:lpstr>
      <vt:lpstr>RL Key Concepts</vt:lpstr>
      <vt:lpstr>RL Key Concepts</vt:lpstr>
      <vt:lpstr>RL Algorithms</vt:lpstr>
      <vt:lpstr>Deep Deterministic Policy Gradient</vt:lpstr>
      <vt:lpstr>What We have -- Data</vt:lpstr>
      <vt:lpstr>Model Specification</vt:lpstr>
      <vt:lpstr>Model Results</vt:lpstr>
      <vt:lpstr>Conclusion/Future Improvem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WT IDS / IPS Technology</dc:title>
  <cp:revision>1</cp:revision>
  <dcterms:created xsi:type="dcterms:W3CDTF">2023-02-24T17:40:38Z</dcterms:created>
  <dcterms:modified xsi:type="dcterms:W3CDTF">2024-07-13T16:25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E3975862F611242B233720C0BB1545D</vt:lpwstr>
  </property>
  <property fmtid="{D5CDD505-2E9C-101B-9397-08002B2CF9AE}" pid="3" name="MediaServiceImageTags">
    <vt:lpwstr/>
  </property>
</Properties>
</file>